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20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21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79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24.xml" ContentType="application/vnd.openxmlformats-officedocument.presentationml.slideLayout+xml"/>
  <Override PartName="/ppt/charts/chart4.xml" ContentType="application/vnd.openxmlformats-officedocument.drawingml.chart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notesMasters/notesMaster1.xml" ContentType="application/vnd.openxmlformats-officedocument.presentationml.notesMaster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7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2" r:id="rId3"/>
    <p:sldMasterId id="2147483701" r:id="rId4"/>
    <p:sldMasterId id="2147483716" r:id="rId5"/>
    <p:sldMasterId id="2147483727" r:id="rId6"/>
  </p:sldMasterIdLst>
  <p:notesMasterIdLst>
    <p:notesMasterId r:id="rId43"/>
  </p:notesMasterIdLst>
  <p:sldIdLst>
    <p:sldId id="256" r:id="rId7"/>
    <p:sldId id="2147483154" r:id="rId8"/>
    <p:sldId id="2147483546" r:id="rId9"/>
    <p:sldId id="2147483559" r:id="rId10"/>
    <p:sldId id="2147483547" r:id="rId11"/>
    <p:sldId id="273" r:id="rId12"/>
    <p:sldId id="2147483548" r:id="rId13"/>
    <p:sldId id="2147483549" r:id="rId14"/>
    <p:sldId id="2147483550" r:id="rId15"/>
    <p:sldId id="2147483552" r:id="rId16"/>
    <p:sldId id="2147483560" r:id="rId17"/>
    <p:sldId id="2147483561" r:id="rId18"/>
    <p:sldId id="2147483228" r:id="rId19"/>
    <p:sldId id="2147483553" r:id="rId20"/>
    <p:sldId id="2147483562" r:id="rId21"/>
    <p:sldId id="2147483563" r:id="rId22"/>
    <p:sldId id="2147483148" r:id="rId23"/>
    <p:sldId id="2147483555" r:id="rId24"/>
    <p:sldId id="2147483554" r:id="rId25"/>
    <p:sldId id="2147483564" r:id="rId26"/>
    <p:sldId id="2147483565" r:id="rId27"/>
    <p:sldId id="2147483556" r:id="rId28"/>
    <p:sldId id="2147483566" r:id="rId29"/>
    <p:sldId id="2147482672" r:id="rId30"/>
    <p:sldId id="2147483136" r:id="rId31"/>
    <p:sldId id="2147483137" r:id="rId32"/>
    <p:sldId id="2147483141" r:id="rId33"/>
    <p:sldId id="2147473431" r:id="rId34"/>
    <p:sldId id="2147473432" r:id="rId35"/>
    <p:sldId id="2147473433" r:id="rId36"/>
    <p:sldId id="300" r:id="rId37"/>
    <p:sldId id="2147482060" r:id="rId38"/>
    <p:sldId id="2147482116" r:id="rId39"/>
    <p:sldId id="2147482117" r:id="rId40"/>
    <p:sldId id="2147482115" r:id="rId41"/>
    <p:sldId id="9458" r:id="rId42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33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Μεσαίο στυλ 1 - Έμφαση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Φωτεινό στυλ 2 - Έμφαση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D7AC3CCA-C797-4891-BE02-D94E43425B78}" styleName="Μεσαίο στυλ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Μεσαίο στυλ 4 - Έμφαση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57" autoAdjust="0"/>
    <p:restoredTop sz="92123" autoAdjust="0"/>
  </p:normalViewPr>
  <p:slideViewPr>
    <p:cSldViewPr snapToGrid="0">
      <p:cViewPr varScale="1">
        <p:scale>
          <a:sx n="112" d="100"/>
          <a:sy n="112" d="100"/>
        </p:scale>
        <p:origin x="123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tableStyles" Target="tableStyles.xml"/><Relationship Id="rId50" Type="http://schemas.openxmlformats.org/officeDocument/2006/relationships/customXml" Target="../customXml/item3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customXml" Target="../customXml/item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notesMaster" Target="notesMasters/notesMaster1.xml"/><Relationship Id="rId48" Type="http://schemas.openxmlformats.org/officeDocument/2006/relationships/customXml" Target="../customXml/item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EgnyteDrive\fishawack\Shared\Medical\Clients\GSK\Oncology\Belantamab%20Mafodotin\Publications\03.%20Congresses\ASH%202024\Posters\49503%20DREAMM-9%20update-%20oral\Editorial\Figures%20for%20presentationASH%20D9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accent1"/>
                </a:solidFill>
              </a:rPr>
              <a:t>ORR=97%</a:t>
            </a:r>
          </a:p>
        </c:rich>
      </c:tx>
      <c:layout>
        <c:manualLayout>
          <c:xMode val="edge"/>
          <c:yMode val="edge"/>
          <c:x val="0.42570965476754286"/>
          <c:y val="4.87547027173880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l-G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648-A644-A209-F52EBDD59E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fficacy evaluable patients (N=86)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22-4B52-A480-D06647E30B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fficacy evaluable patients (N=86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22-4B52-A480-D06647E30B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CR/CR</c:v>
                </c:pt>
              </c:strCache>
            </c:strRef>
          </c:tx>
          <c:spPr>
            <a:solidFill>
              <a:srgbClr val="13896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fficacy evaluable patients (N=86)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22-4B52-A480-D06647E30BF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6295104"/>
        <c:axId val="327186672"/>
      </c:barChart>
      <c:catAx>
        <c:axId val="32629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954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327186672"/>
        <c:crosses val="autoZero"/>
        <c:auto val="0"/>
        <c:lblAlgn val="ctr"/>
        <c:lblOffset val="100"/>
        <c:noMultiLvlLbl val="0"/>
      </c:catAx>
      <c:valAx>
        <c:axId val="327186672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aseline="0">
                    <a:solidFill>
                      <a:srgbClr val="595454"/>
                    </a:solidFill>
                  </a:rPr>
                  <a:t>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pPr>
              <a:endParaRPr lang="el-GR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326295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95454"/>
              </a:solidFill>
              <a:latin typeface="+mn-lt"/>
              <a:ea typeface="+mn-ea"/>
              <a:cs typeface="+mn-cs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905317310993676E-2"/>
          <c:y val="2.7392530303116985E-2"/>
          <c:w val="0.9044065000195608"/>
          <c:h val="0.8176630894646229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A$5</c:f>
              <c:strCache>
                <c:ptCount val="1"/>
                <c:pt idx="0">
                  <c:v>sCR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5:$I$5</c:f>
              <c:numCache>
                <c:formatCode>General</c:formatCode>
                <c:ptCount val="8"/>
                <c:pt idx="0">
                  <c:v>50</c:v>
                </c:pt>
                <c:pt idx="1">
                  <c:v>33</c:v>
                </c:pt>
                <c:pt idx="2">
                  <c:v>15</c:v>
                </c:pt>
                <c:pt idx="3">
                  <c:v>27</c:v>
                </c:pt>
                <c:pt idx="4">
                  <c:v>29</c:v>
                </c:pt>
                <c:pt idx="5">
                  <c:v>36</c:v>
                </c:pt>
                <c:pt idx="6">
                  <c:v>47</c:v>
                </c:pt>
                <c:pt idx="7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3D-4072-A8E5-A92C96F30018}"/>
            </c:ext>
          </c:extLst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5"/>
              </a:solidFill>
            </a:ln>
            <a:effectLst/>
          </c:spPr>
          <c:invertIfNegative val="0"/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33D-4072-A8E5-A92C96F300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4:$I$4</c:f>
              <c:numCache>
                <c:formatCode>General</c:formatCode>
                <c:ptCount val="8"/>
                <c:pt idx="0">
                  <c:v>25</c:v>
                </c:pt>
                <c:pt idx="1">
                  <c:v>58</c:v>
                </c:pt>
                <c:pt idx="2">
                  <c:v>46</c:v>
                </c:pt>
                <c:pt idx="3">
                  <c:v>64</c:v>
                </c:pt>
                <c:pt idx="4">
                  <c:v>12</c:v>
                </c:pt>
                <c:pt idx="5">
                  <c:v>36</c:v>
                </c:pt>
                <c:pt idx="6">
                  <c:v>7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3D-4072-A8E5-A92C96F30018}"/>
            </c:ext>
          </c:extLst>
        </c:ser>
        <c:ser>
          <c:idx val="1"/>
          <c:order val="2"/>
          <c:tx>
            <c:strRef>
              <c:f>Sheet1!$A$3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  <c:pt idx="0">
                  <c:v>17</c:v>
                </c:pt>
                <c:pt idx="1">
                  <c:v>9</c:v>
                </c:pt>
                <c:pt idx="2">
                  <c:v>31</c:v>
                </c:pt>
                <c:pt idx="3">
                  <c:v>9</c:v>
                </c:pt>
                <c:pt idx="4">
                  <c:v>18</c:v>
                </c:pt>
                <c:pt idx="5">
                  <c:v>7</c:v>
                </c:pt>
                <c:pt idx="6">
                  <c:v>20</c:v>
                </c:pt>
                <c:pt idx="7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3D-4072-A8E5-A92C96F30018}"/>
            </c:ext>
          </c:extLst>
        </c:ser>
        <c:ser>
          <c:idx val="0"/>
          <c:order val="3"/>
          <c:tx>
            <c:strRef>
              <c:f>Sheet1!$A$2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33D-4072-A8E5-A92C96F3001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33D-4072-A8E5-A92C96F3001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33D-4072-A8E5-A92C96F3001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33D-4072-A8E5-A92C96F300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8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2</c:v>
                </c:pt>
                <c:pt idx="5">
                  <c:v>7</c:v>
                </c:pt>
                <c:pt idx="6">
                  <c:v>13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D-4072-A8E5-A92C96F300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86854560"/>
        <c:axId val="376474000"/>
      </c:barChart>
      <c:catAx>
        <c:axId val="386854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376474000"/>
        <c:crosses val="autoZero"/>
        <c:auto val="1"/>
        <c:lblAlgn val="ctr"/>
        <c:lblOffset val="100"/>
        <c:noMultiLvlLbl val="0"/>
      </c:catAx>
      <c:valAx>
        <c:axId val="37647400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/>
                    </a:solidFill>
                  </a:rPr>
                  <a:t>Proportion of patients,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l-G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386854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07796732079634E-2"/>
          <c:y val="5.9023836549375708E-2"/>
          <c:w val="0.77008158116971692"/>
          <c:h val="0.669068979067783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R+ with MRD'!$A$4</c:f>
              <c:strCache>
                <c:ptCount val="1"/>
                <c:pt idx="0">
                  <c:v>CR+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+ with MRD'!$B$3:$I$3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'CR+ with MRD'!$B$4:$I$4</c:f>
              <c:numCache>
                <c:formatCode>General</c:formatCode>
                <c:ptCount val="8"/>
                <c:pt idx="0">
                  <c:v>75</c:v>
                </c:pt>
                <c:pt idx="1">
                  <c:v>92</c:v>
                </c:pt>
                <c:pt idx="2">
                  <c:v>62</c:v>
                </c:pt>
                <c:pt idx="3">
                  <c:v>91</c:v>
                </c:pt>
                <c:pt idx="4">
                  <c:v>41</c:v>
                </c:pt>
                <c:pt idx="5">
                  <c:v>71</c:v>
                </c:pt>
                <c:pt idx="6">
                  <c:v>53</c:v>
                </c:pt>
                <c:pt idx="7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49-4E02-A6AE-C45FD362B4B2}"/>
            </c:ext>
          </c:extLst>
        </c:ser>
        <c:ser>
          <c:idx val="2"/>
          <c:order val="2"/>
          <c:tx>
            <c:strRef>
              <c:f>'CR+ with MRD'!$A$6</c:f>
              <c:strCache>
                <c:ptCount val="1"/>
                <c:pt idx="0">
                  <c:v>MRD[-]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5"/>
              </a:solidFill>
            </a:ln>
            <a:effectLst/>
          </c:spPr>
          <c:invertIfNegative val="0"/>
          <c:dLbls>
            <c:spPr>
              <a:noFill/>
              <a:ln>
                <a:solidFill>
                  <a:schemeClr val="tx2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+ with MRD'!$B$3:$I$3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'CR+ with MRD'!$B$6:$I$6</c:f>
              <c:numCache>
                <c:formatCode>General</c:formatCode>
                <c:ptCount val="8"/>
                <c:pt idx="0">
                  <c:v>75</c:v>
                </c:pt>
                <c:pt idx="1">
                  <c:v>67</c:v>
                </c:pt>
                <c:pt idx="2">
                  <c:v>54</c:v>
                </c:pt>
                <c:pt idx="3">
                  <c:v>45</c:v>
                </c:pt>
                <c:pt idx="4">
                  <c:v>29</c:v>
                </c:pt>
                <c:pt idx="5">
                  <c:v>43</c:v>
                </c:pt>
                <c:pt idx="6">
                  <c:v>27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49-4E02-A6AE-C45FD362B4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85428832"/>
        <c:axId val="32464577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CR+ with MRD'!$A$5</c15:sqref>
                        </c15:formulaRef>
                      </c:ext>
                    </c:extLst>
                    <c:strCache>
                      <c:ptCount val="1"/>
                      <c:pt idx="0">
                        <c:v>MRD[-]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4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l-G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CR+ with MRD'!$B$3:$I$3</c15:sqref>
                        </c15:formulaRef>
                      </c:ext>
                    </c:extLst>
                    <c:strCache>
                      <c:ptCount val="8"/>
                      <c:pt idx="0">
                        <c:v>1.9 mg/kg Q3/4W</c:v>
                      </c:pt>
                      <c:pt idx="1">
                        <c:v>1.9 mg/kg Q6/8W </c:v>
                      </c:pt>
                      <c:pt idx="2">
                        <c:v>1.4 mg/kg Q3/4W</c:v>
                      </c:pt>
                      <c:pt idx="3">
                        <c:v>1.4 mg/kg Q6/8W</c:v>
                      </c:pt>
                      <c:pt idx="4">
                        <c:v>1.9 (9W) to 1.4 mg/kg Q9/12W</c:v>
                      </c:pt>
                      <c:pt idx="5">
                        <c:v>1.0 mg/kg Q3/4W</c:v>
                      </c:pt>
                      <c:pt idx="6">
                        <c:v>1.4 (9W) to 1.0 mg/kg Q9/12W</c:v>
                      </c:pt>
                      <c:pt idx="7">
                        <c:v>1.0 mg/kg Q12W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CR+ with MRD'!$B$5:$I$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00</c:v>
                      </c:pt>
                      <c:pt idx="1">
                        <c:v>73</c:v>
                      </c:pt>
                      <c:pt idx="2">
                        <c:v>88</c:v>
                      </c:pt>
                      <c:pt idx="3">
                        <c:v>50</c:v>
                      </c:pt>
                      <c:pt idx="4">
                        <c:v>71</c:v>
                      </c:pt>
                      <c:pt idx="5">
                        <c:v>60</c:v>
                      </c:pt>
                      <c:pt idx="6">
                        <c:v>50</c:v>
                      </c:pt>
                      <c:pt idx="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DD49-4E02-A6AE-C45FD362B4B2}"/>
                  </c:ext>
                </c:extLst>
              </c15:ser>
            </c15:filteredBarSeries>
          </c:ext>
        </c:extLst>
      </c:barChart>
      <c:catAx>
        <c:axId val="385428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324645776"/>
        <c:crosses val="autoZero"/>
        <c:auto val="1"/>
        <c:lblAlgn val="ctr"/>
        <c:lblOffset val="100"/>
        <c:noMultiLvlLbl val="0"/>
      </c:catAx>
      <c:valAx>
        <c:axId val="324645776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/>
                    </a:solidFill>
                  </a:rPr>
                  <a:t>Patients (ITT population), %</a:t>
                </a:r>
              </a:p>
            </c:rich>
          </c:tx>
          <c:layout>
            <c:manualLayout>
              <c:xMode val="edge"/>
              <c:yMode val="edge"/>
              <c:x val="1.813758561032772E-2"/>
              <c:y val="3.209360121235424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l-G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385428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6823916519889643"/>
          <c:y val="0.32478764855796322"/>
          <c:w val="0.12056443358849667"/>
          <c:h val="0.258589827236408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l-G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l-G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450832418983439E-2"/>
          <c:y val="0"/>
          <c:w val="0.90099833800111062"/>
          <c:h val="0.84365924491771538"/>
        </c:manualLayout>
      </c:layout>
      <c:scatterChart>
        <c:scatterStyle val="lineMarker"/>
        <c:varyColors val="0"/>
        <c:ser>
          <c:idx val="4"/>
          <c:order val="0"/>
          <c:tx>
            <c:strRef>
              <c:f>Sheet1!$A$2</c:f>
              <c:strCache>
                <c:ptCount val="1"/>
                <c:pt idx="0">
                  <c:v>1.9 mg/kg Q3/4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4"/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05E-4F4E-9436-86696F8B7D8A}"/>
              </c:ext>
            </c:extLst>
          </c:dPt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2</c:f>
                <c:numCache>
                  <c:formatCode>General</c:formatCode>
                  <c:ptCount val="1"/>
                  <c:pt idx="0">
                    <c:v>363</c:v>
                  </c:pt>
                </c:numCache>
              </c:numRef>
            </c:plus>
            <c:minus>
              <c:numRef>
                <c:f>Sheet1!$G$2</c:f>
                <c:numCache>
                  <c:formatCode>General</c:formatCode>
                  <c:ptCount val="1"/>
                  <c:pt idx="0">
                    <c:v>34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2</c:f>
              <c:numCache>
                <c:formatCode>General</c:formatCode>
                <c:ptCount val="1"/>
                <c:pt idx="0">
                  <c:v>76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05E-4F4E-9436-86696F8B7D8A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1.9 mg/kg Q6/8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1"/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2-D05E-4F4E-9436-86696F8B7D8A}"/>
              </c:ext>
            </c:extLst>
          </c:dPt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3</c:f>
                <c:numCache>
                  <c:formatCode>General</c:formatCode>
                  <c:ptCount val="1"/>
                  <c:pt idx="0">
                    <c:v>226</c:v>
                  </c:pt>
                </c:numCache>
              </c:numRef>
            </c:plus>
            <c:minus>
              <c:numRef>
                <c:f>Sheet1!$G$3</c:f>
                <c:numCache>
                  <c:formatCode>General</c:formatCode>
                  <c:ptCount val="1"/>
                  <c:pt idx="0">
                    <c:v>140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3</c:f>
              <c:numCache>
                <c:formatCode>General</c:formatCode>
                <c:ptCount val="1"/>
                <c:pt idx="0">
                  <c:v>246</c:v>
                </c:pt>
              </c:numCache>
            </c:numRef>
          </c:xVal>
          <c:yVal>
            <c:numRef>
              <c:f>Sheet1!$B$3</c:f>
              <c:numCache>
                <c:formatCode>General</c:formatCode>
                <c:ptCount val="1"/>
                <c:pt idx="0">
                  <c:v>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D05E-4F4E-9436-86696F8B7D8A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1.4 mg/kg Q3/4W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3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4</c:f>
                <c:numCache>
                  <c:formatCode>General</c:formatCode>
                  <c:ptCount val="1"/>
                  <c:pt idx="0">
                    <c:v>281</c:v>
                  </c:pt>
                </c:numCache>
              </c:numRef>
            </c:plus>
            <c:minus>
              <c:numRef>
                <c:f>Sheet1!$G$4</c:f>
                <c:numCache>
                  <c:formatCode>General</c:formatCode>
                  <c:ptCount val="1"/>
                  <c:pt idx="0">
                    <c:v>15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4</c:f>
              <c:numCache>
                <c:formatCode>General</c:formatCode>
                <c:ptCount val="1"/>
                <c:pt idx="0">
                  <c:v>128</c:v>
                </c:pt>
              </c:numCache>
            </c:numRef>
          </c:xVal>
          <c:yVal>
            <c:numRef>
              <c:f>Sheet1!$B$4</c:f>
              <c:numCache>
                <c:formatCode>General</c:formatCode>
                <c:ptCount val="1"/>
                <c:pt idx="0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D05E-4F4E-9436-86696F8B7D8A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1.4 mg/kg Q6/8W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5-D05E-4F4E-9436-86696F8B7D8A}"/>
              </c:ext>
            </c:extLst>
          </c:dPt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5</c:f>
                <c:numCache>
                  <c:formatCode>General</c:formatCode>
                  <c:ptCount val="1"/>
                  <c:pt idx="0">
                    <c:v>282</c:v>
                  </c:pt>
                </c:numCache>
              </c:numRef>
            </c:plus>
            <c:minus>
              <c:numRef>
                <c:f>Sheet1!$G$5</c:f>
                <c:numCache>
                  <c:formatCode>General</c:formatCode>
                  <c:ptCount val="1"/>
                  <c:pt idx="0">
                    <c:v>172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5</c:f>
              <c:numCache>
                <c:formatCode>General</c:formatCode>
                <c:ptCount val="1"/>
                <c:pt idx="0">
                  <c:v>264</c:v>
                </c:pt>
              </c:numCache>
            </c:numRef>
          </c:xVal>
          <c:yVal>
            <c:numRef>
              <c:f>Sheet1!$B$5</c:f>
              <c:numCache>
                <c:formatCode>General</c:formatCode>
                <c:ptCount val="1"/>
                <c:pt idx="0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D05E-4F4E-9436-86696F8B7D8A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1.9 mg/kg Q3/4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4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7</c:f>
                <c:numCache>
                  <c:formatCode>General</c:formatCode>
                  <c:ptCount val="1"/>
                  <c:pt idx="0">
                    <c:v>67</c:v>
                  </c:pt>
                </c:numCache>
              </c:numRef>
            </c:plus>
            <c:minus>
              <c:numRef>
                <c:f>Sheet1!$G$7</c:f>
                <c:numCache>
                  <c:formatCode>General</c:formatCode>
                  <c:ptCount val="1"/>
                  <c:pt idx="0">
                    <c:v>127</c:v>
                  </c:pt>
                </c:numCache>
              </c:numRef>
            </c:minus>
            <c:spPr>
              <a:ln w="12700"/>
            </c:spPr>
          </c:errBars>
          <c:xVal>
            <c:numRef>
              <c:f>Sheet1!$C$7</c:f>
              <c:numCache>
                <c:formatCode>General</c:formatCode>
                <c:ptCount val="1"/>
                <c:pt idx="0">
                  <c:v>163</c:v>
                </c:pt>
              </c:numCache>
            </c:numRef>
          </c:xVal>
          <c:yVal>
            <c:numRef>
              <c:f>Sheet1!$B$7</c:f>
              <c:numCache>
                <c:formatCode>General</c:formatCode>
                <c:ptCount val="1"/>
                <c:pt idx="0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05E-4F4E-9436-86696F8B7D8A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1.9 mg/kg Q6/8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1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8</c:f>
                <c:numCache>
                  <c:formatCode>General</c:formatCode>
                  <c:ptCount val="1"/>
                  <c:pt idx="0">
                    <c:v>111</c:v>
                  </c:pt>
                </c:numCache>
              </c:numRef>
            </c:plus>
            <c:minus>
              <c:numRef>
                <c:f>Sheet1!$G$8</c:f>
                <c:numCache>
                  <c:formatCode>General</c:formatCode>
                  <c:ptCount val="1"/>
                  <c:pt idx="0">
                    <c:v>106</c:v>
                  </c:pt>
                </c:numCache>
              </c:numRef>
            </c:minus>
            <c:spPr>
              <a:ln w="12700"/>
            </c:spPr>
          </c:errBars>
          <c:xVal>
            <c:numRef>
              <c:f>Sheet1!$C$8</c:f>
              <c:numCache>
                <c:formatCode>General</c:formatCode>
                <c:ptCount val="1"/>
                <c:pt idx="0">
                  <c:v>135</c:v>
                </c:pt>
              </c:numCache>
            </c:numRef>
          </c:xVal>
          <c:yVal>
            <c:numRef>
              <c:f>Sheet1!$B$8</c:f>
              <c:numCache>
                <c:formatCode>General</c:formatCode>
                <c:ptCount val="1"/>
                <c:pt idx="0">
                  <c:v>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05E-4F4E-9436-86696F8B7D8A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1.4 mg/kg Q3/4W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square"/>
            <c:size val="12"/>
            <c:spPr>
              <a:solidFill>
                <a:schemeClr val="accent3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9</c:f>
                <c:numCache>
                  <c:formatCode>General</c:formatCode>
                  <c:ptCount val="1"/>
                  <c:pt idx="0">
                    <c:v>49</c:v>
                  </c:pt>
                </c:numCache>
              </c:numRef>
            </c:plus>
            <c:minus>
              <c:numRef>
                <c:f>Sheet1!$G$9</c:f>
                <c:numCache>
                  <c:formatCode>General</c:formatCode>
                  <c:ptCount val="1"/>
                  <c:pt idx="0">
                    <c:v>14</c:v>
                  </c:pt>
                </c:numCache>
              </c:numRef>
            </c:minus>
            <c:spPr>
              <a:ln w="12700"/>
            </c:spPr>
          </c:errBars>
          <c:xVal>
            <c:numRef>
              <c:f>Sheet1!$C$9</c:f>
              <c:numCache>
                <c:formatCode>General</c:formatCode>
                <c:ptCount val="1"/>
                <c:pt idx="0">
                  <c:v>36</c:v>
                </c:pt>
              </c:numCache>
            </c:numRef>
          </c:xVal>
          <c:yVal>
            <c:numRef>
              <c:f>Sheet1!$B$9</c:f>
              <c:numCache>
                <c:formatCode>General</c:formatCode>
                <c:ptCount val="1"/>
                <c:pt idx="0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D05E-4F4E-9436-86696F8B7D8A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1.4 mg/kg Q6/8W</c:v>
                </c:pt>
              </c:strCache>
            </c:strRef>
          </c:tx>
          <c:marker>
            <c:symbol val="square"/>
            <c:size val="12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10</c:f>
                <c:numCache>
                  <c:formatCode>General</c:formatCode>
                  <c:ptCount val="1"/>
                  <c:pt idx="0">
                    <c:v>351</c:v>
                  </c:pt>
                </c:numCache>
              </c:numRef>
            </c:plus>
            <c:minus>
              <c:numRef>
                <c:f>Sheet1!$G$10</c:f>
                <c:numCache>
                  <c:formatCode>General</c:formatCode>
                  <c:ptCount val="1"/>
                  <c:pt idx="0">
                    <c:v>27</c:v>
                  </c:pt>
                </c:numCache>
              </c:numRef>
            </c:minus>
            <c:spPr>
              <a:ln w="12700"/>
            </c:spPr>
          </c:errBars>
          <c:errBars>
            <c:errDir val="y"/>
            <c:errBarType val="both"/>
            <c:errValType val="stdErr"/>
            <c:noEndCap val="0"/>
          </c:errBars>
          <c:xVal>
            <c:numRef>
              <c:f>Sheet1!$C$10</c:f>
              <c:numCache>
                <c:formatCode>General</c:formatCode>
                <c:ptCount val="1"/>
                <c:pt idx="0">
                  <c:v>70</c:v>
                </c:pt>
              </c:numCache>
            </c:numRef>
          </c:xVal>
          <c:yVal>
            <c:numRef>
              <c:f>Sheet1!$B$10</c:f>
              <c:numCache>
                <c:formatCode>General</c:formatCode>
                <c:ptCount val="1"/>
                <c:pt idx="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D05E-4F4E-9436-86696F8B7D8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324646560"/>
        <c:axId val="392650088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4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28575">
                    <a:solidFill>
                      <a:schemeClr val="tx1"/>
                    </a:solidFill>
                  </a:ln>
                </c:spPr>
                <c:marker>
                  <c:symbol val="square"/>
                  <c:size val="12"/>
                  <c:spPr>
                    <a:solidFill>
                      <a:srgbClr val="004890"/>
                    </a:solidFill>
                    <a:ln>
                      <a:solidFill>
                        <a:schemeClr val="tx1"/>
                      </a:solidFill>
                    </a:ln>
                  </c:spPr>
                </c:marker>
                <c:dPt>
                  <c:idx val="0"/>
                  <c:bubble3D val="0"/>
                  <c:extLst>
                    <c:ext xmlns:c16="http://schemas.microsoft.com/office/drawing/2014/chart" uri="{C3380CC4-5D6E-409C-BE32-E72D297353CC}">
                      <c16:uniqueId val="{00000007-D05E-4F4E-9436-86696F8B7D8A}"/>
                    </c:ext>
                  </c:extLst>
                </c:dPt>
                <c:dLbls>
                  <c:delete val="1"/>
                </c:dLbls>
                <c:errBars>
                  <c:errDir val="x"/>
                  <c:errBarType val="both"/>
                  <c:errValType val="cust"/>
                  <c:noEndCap val="0"/>
                  <c:plus>
                    <c:numRef>
                      <c:extLst>
                        <c:ext uri="{02D57815-91ED-43cb-92C2-25804820EDAC}">
                          <c15:formulaRef>
                            <c15:sqref>Sheet1!#REF!</c15:sqref>
                          </c15:formulaRef>
                        </c:ext>
                      </c:extLst>
                      <c:numCache>
                        <c:formatCode>General</c:formatCode>
                        <c:ptCount val="1"/>
                        <c:pt idx="0">
                          <c:v>1</c:v>
                        </c:pt>
                      </c:numCache>
                    </c:numRef>
                  </c:plus>
                  <c:minus>
                    <c:numRef>
                      <c:extLst>
                        <c:ext uri="{02D57815-91ED-43cb-92C2-25804820EDAC}">
                          <c15:formulaRef>
                            <c15:sqref>Sheet1!#REF!</c15:sqref>
                          </c15:formulaRef>
                        </c:ext>
                      </c:extLst>
                      <c:numCache>
                        <c:formatCode>General</c:formatCode>
                        <c:ptCount val="1"/>
                        <c:pt idx="0">
                          <c:v>1</c:v>
                        </c:pt>
                      </c:numCache>
                    </c:numRef>
                  </c:minus>
                  <c:spPr>
                    <a:ln w="31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c:spPr>
                </c:errBars>
                <c:x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8-D05E-4F4E-9436-86696F8B7D8A}"/>
                  </c:ext>
                </c:extLst>
              </c15:ser>
            </c15:filteredScatterSeries>
          </c:ext>
        </c:extLst>
      </c:scatterChart>
      <c:valAx>
        <c:axId val="324646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tx1"/>
            </a:solidFill>
          </a:ln>
        </c:spPr>
        <c:txPr>
          <a:bodyPr/>
          <a:lstStyle/>
          <a:p>
            <a:pPr>
              <a:defRPr sz="1100"/>
            </a:pPr>
            <a:endParaRPr lang="el-GR"/>
          </a:p>
        </c:txPr>
        <c:crossAx val="392650088"/>
        <c:crosses val="autoZero"/>
        <c:crossBetween val="midCat"/>
      </c:valAx>
      <c:valAx>
        <c:axId val="392650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24646560"/>
        <c:crossesAt val="0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l-G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58B20C-6920-4212-AB1C-770C1775F551}" type="datetimeFigureOut">
              <a:rPr lang="el-GR" smtClean="0"/>
              <a:t>6/5/25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D6FE3-7AA9-463A-BB9C-D56322DFCA1B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527030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EEADE4-B255-BA6C-1202-93E9E95FF2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EE2214-646C-FF63-4812-2176232DA12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46E6D0-48D5-EE0B-6381-62DE3BB088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F75610-FF00-64E0-42F5-348E9CC86F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12DEA-D2BD-45F2-BA67-0292ABF734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FA22BB-8535-6407-C12E-79E8E747E9D8}"/>
              </a:ext>
            </a:extLst>
          </p:cNvPr>
          <p:cNvSpPr txBox="1"/>
          <p:nvPr/>
        </p:nvSpPr>
        <p:spPr>
          <a:xfrm>
            <a:off x="1332705" y="616228"/>
            <a:ext cx="4192591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CP Webinar 5 – DO NOT FE</a:t>
            </a:r>
          </a:p>
        </p:txBody>
      </p:sp>
      <p:sp>
        <p:nvSpPr>
          <p:cNvPr id="5" name="AutoShape 8">
            <a:extLst>
              <a:ext uri="{FF2B5EF4-FFF2-40B4-BE49-F238E27FC236}">
                <a16:creationId xmlns:a16="http://schemas.microsoft.com/office/drawing/2014/main" id="{7AD20470-5EE9-E1C7-8F7F-6C96F88731E2}"/>
              </a:ext>
            </a:extLst>
          </p:cNvPr>
          <p:cNvSpPr>
            <a:spLocks/>
          </p:cNvSpPr>
          <p:nvPr/>
        </p:nvSpPr>
        <p:spPr bwMode="auto">
          <a:xfrm flipH="1">
            <a:off x="595771" y="2607673"/>
            <a:ext cx="99041" cy="432310"/>
          </a:xfrm>
          <a:prstGeom prst="rightBrace">
            <a:avLst>
              <a:gd name="adj1" fmla="val 0"/>
              <a:gd name="adj2" fmla="val 50000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AutoShape 8">
            <a:extLst>
              <a:ext uri="{FF2B5EF4-FFF2-40B4-BE49-F238E27FC236}">
                <a16:creationId xmlns:a16="http://schemas.microsoft.com/office/drawing/2014/main" id="{13D43E33-B5C0-6036-30C0-31150D3EAF91}"/>
              </a:ext>
            </a:extLst>
          </p:cNvPr>
          <p:cNvSpPr>
            <a:spLocks/>
          </p:cNvSpPr>
          <p:nvPr/>
        </p:nvSpPr>
        <p:spPr bwMode="auto">
          <a:xfrm flipH="1">
            <a:off x="551454" y="1168719"/>
            <a:ext cx="134346" cy="369332"/>
          </a:xfrm>
          <a:prstGeom prst="rightBrace">
            <a:avLst>
              <a:gd name="adj1" fmla="val 0"/>
              <a:gd name="adj2" fmla="val 50000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A796A3-E645-C257-E157-B0C4D9BC298C}"/>
              </a:ext>
            </a:extLst>
          </p:cNvPr>
          <p:cNvSpPr txBox="1"/>
          <p:nvPr/>
        </p:nvSpPr>
        <p:spPr>
          <a:xfrm>
            <a:off x="-285544" y="830394"/>
            <a:ext cx="870121" cy="646331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Moreau 2022/p499/c1/¶1/L2-4; ¶2/L1-3; p500/Figure 1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Martin 2022/p1268/c1/Table 1/Rows 2-3</a:t>
            </a:r>
          </a:p>
        </p:txBody>
      </p:sp>
      <p:sp>
        <p:nvSpPr>
          <p:cNvPr id="8" name="AutoShape 8">
            <a:extLst>
              <a:ext uri="{FF2B5EF4-FFF2-40B4-BE49-F238E27FC236}">
                <a16:creationId xmlns:a16="http://schemas.microsoft.com/office/drawing/2014/main" id="{D6E24268-9D50-0221-2856-43B0BF07BC12}"/>
              </a:ext>
            </a:extLst>
          </p:cNvPr>
          <p:cNvSpPr>
            <a:spLocks/>
          </p:cNvSpPr>
          <p:nvPr/>
        </p:nvSpPr>
        <p:spPr bwMode="auto">
          <a:xfrm flipH="1">
            <a:off x="581249" y="1705320"/>
            <a:ext cx="86205" cy="217224"/>
          </a:xfrm>
          <a:prstGeom prst="rightBrace">
            <a:avLst>
              <a:gd name="adj1" fmla="val 0"/>
              <a:gd name="adj2" fmla="val 50000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AutoShape 8">
            <a:extLst>
              <a:ext uri="{FF2B5EF4-FFF2-40B4-BE49-F238E27FC236}">
                <a16:creationId xmlns:a16="http://schemas.microsoft.com/office/drawing/2014/main" id="{9CD67F7D-8905-81E3-8C97-95970816D63F}"/>
              </a:ext>
            </a:extLst>
          </p:cNvPr>
          <p:cNvSpPr>
            <a:spLocks/>
          </p:cNvSpPr>
          <p:nvPr/>
        </p:nvSpPr>
        <p:spPr bwMode="auto">
          <a:xfrm flipH="1">
            <a:off x="566406" y="1974333"/>
            <a:ext cx="128407" cy="504053"/>
          </a:xfrm>
          <a:prstGeom prst="rightBrace">
            <a:avLst>
              <a:gd name="adj1" fmla="val 0"/>
              <a:gd name="adj2" fmla="val 50000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AutoShape 8">
            <a:extLst>
              <a:ext uri="{FF2B5EF4-FFF2-40B4-BE49-F238E27FC236}">
                <a16:creationId xmlns:a16="http://schemas.microsoft.com/office/drawing/2014/main" id="{AD3DCD58-FAD5-8FCC-82E8-3C730EEA49C0}"/>
              </a:ext>
            </a:extLst>
          </p:cNvPr>
          <p:cNvSpPr>
            <a:spLocks/>
          </p:cNvSpPr>
          <p:nvPr/>
        </p:nvSpPr>
        <p:spPr bwMode="auto">
          <a:xfrm flipH="1">
            <a:off x="551520" y="3121861"/>
            <a:ext cx="143627" cy="569280"/>
          </a:xfrm>
          <a:prstGeom prst="rightBrace">
            <a:avLst>
              <a:gd name="adj1" fmla="val 0"/>
              <a:gd name="adj2" fmla="val 39076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AutoShape 8">
            <a:extLst>
              <a:ext uri="{FF2B5EF4-FFF2-40B4-BE49-F238E27FC236}">
                <a16:creationId xmlns:a16="http://schemas.microsoft.com/office/drawing/2014/main" id="{AEA9A4F5-4C30-FE58-0B8F-82F0072318B2}"/>
              </a:ext>
            </a:extLst>
          </p:cNvPr>
          <p:cNvSpPr>
            <a:spLocks/>
          </p:cNvSpPr>
          <p:nvPr/>
        </p:nvSpPr>
        <p:spPr bwMode="auto">
          <a:xfrm flipH="1">
            <a:off x="595772" y="3777866"/>
            <a:ext cx="78407" cy="83315"/>
          </a:xfrm>
          <a:prstGeom prst="rightBrace">
            <a:avLst>
              <a:gd name="adj1" fmla="val 0"/>
              <a:gd name="adj2" fmla="val 50000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AutoShape 8">
            <a:extLst>
              <a:ext uri="{FF2B5EF4-FFF2-40B4-BE49-F238E27FC236}">
                <a16:creationId xmlns:a16="http://schemas.microsoft.com/office/drawing/2014/main" id="{3A86CA0B-ACDF-17CC-0C36-E46B9D78095B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6172200" y="1812264"/>
            <a:ext cx="152334" cy="1835644"/>
          </a:xfrm>
          <a:prstGeom prst="rightBrace">
            <a:avLst>
              <a:gd name="adj1" fmla="val 0"/>
              <a:gd name="adj2" fmla="val 49083"/>
            </a:avLst>
          </a:prstGeom>
          <a:noFill/>
          <a:ln w="635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0817" tIns="0" rIns="0" bIns="0" anchor="ctr"/>
          <a:lstStyle/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E5B1DC-7B8B-D5F2-35AC-6B01C9423407}"/>
              </a:ext>
            </a:extLst>
          </p:cNvPr>
          <p:cNvSpPr txBox="1"/>
          <p:nvPr/>
        </p:nvSpPr>
        <p:spPr>
          <a:xfrm>
            <a:off x="-285544" y="2119509"/>
            <a:ext cx="892938" cy="276999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Moreau 2022/p498/Table 1; Rows 1, 2, 13, 22, 26, 3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006C9C-BC2D-947F-6906-0350D1F49E44}"/>
              </a:ext>
            </a:extLst>
          </p:cNvPr>
          <p:cNvSpPr txBox="1"/>
          <p:nvPr/>
        </p:nvSpPr>
        <p:spPr>
          <a:xfrm>
            <a:off x="-333856" y="2579772"/>
            <a:ext cx="935849" cy="461665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Moreau 2022/p500/Figure 1A; p501/Figure 2A-C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calculation: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8.8*165/100=97]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AB6400-A289-6641-CCC9-80EBEE69D44F}"/>
              </a:ext>
            </a:extLst>
          </p:cNvPr>
          <p:cNvSpPr txBox="1"/>
          <p:nvPr/>
        </p:nvSpPr>
        <p:spPr>
          <a:xfrm>
            <a:off x="6306480" y="2146009"/>
            <a:ext cx="1007027" cy="923330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Moreau 2022/p499/c1/¶1/L2-7; p500/Figure 1A 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lculation VGPR: 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7/165=0.5878=58.8%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oka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2/c2/Results//Enrollment/L3-6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E51BCD-39EC-EEF6-2285-AA0F4811A796}"/>
              </a:ext>
            </a:extLst>
          </p:cNvPr>
          <p:cNvSpPr txBox="1"/>
          <p:nvPr/>
        </p:nvSpPr>
        <p:spPr>
          <a:xfrm>
            <a:off x="-333856" y="3117849"/>
            <a:ext cx="935849" cy="369332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Moreau 2022/ p499/c2/¶1/L5-11; p502/Table 2/Rows 5-7, 2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59717C8-33C4-F3C5-A961-3FFCF222378F}"/>
              </a:ext>
            </a:extLst>
          </p:cNvPr>
          <p:cNvSpPr txBox="1"/>
          <p:nvPr/>
        </p:nvSpPr>
        <p:spPr>
          <a:xfrm>
            <a:off x="-315510" y="1627598"/>
            <a:ext cx="892938" cy="369332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Moreau 2022/p496/c1/¶2/L6-11, 14-18; c2/¶2/L1-4; p497/c1/¶4/L10,1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EC9D2F-1D31-1C82-53A7-EEC310AE557F}"/>
              </a:ext>
            </a:extLst>
          </p:cNvPr>
          <p:cNvSpPr txBox="1"/>
          <p:nvPr/>
        </p:nvSpPr>
        <p:spPr>
          <a:xfrm>
            <a:off x="-333856" y="3591888"/>
            <a:ext cx="929630" cy="461665"/>
          </a:xfrm>
          <a:prstGeom prst="rect">
            <a:avLst/>
          </a:prstGeom>
          <a:solidFill>
            <a:schemeClr val="bg1"/>
          </a:solidFill>
          <a:ln w="6350" algn="ctr">
            <a:solidFill>
              <a:srgbClr val="9696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20396" tIns="0" rIns="0" bIns="0" anchor="ctr">
            <a:spAutoFit/>
          </a:bodyPr>
          <a:lstStyle>
            <a:defPPr>
              <a:defRPr lang="en-US"/>
            </a:defPPr>
            <a:lvl1pPr defTabSz="895350" eaLnBrk="0" hangingPunct="0">
              <a:spcAft>
                <a:spcPts val="0"/>
              </a:spcAft>
              <a:defRPr sz="600"/>
            </a:lvl1pPr>
          </a:lstStyle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*Moreau 2022/p497/c2/¶2/L8,9</a:t>
            </a: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89535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n-US" sz="600" b="0" i="0" u="none" strike="noStrike" kern="1200" cap="none" spc="0" normalizeH="0" baseline="3000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au 2022/p497/c2/¶3/L9-1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9C3DB05-3F17-87D1-42B0-74D5EC0DBF82}"/>
              </a:ext>
            </a:extLst>
          </p:cNvPr>
          <p:cNvSpPr/>
          <p:nvPr/>
        </p:nvSpPr>
        <p:spPr>
          <a:xfrm>
            <a:off x="654227" y="1087837"/>
            <a:ext cx="5581816" cy="31964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DT: skip</a:t>
            </a:r>
          </a:p>
        </p:txBody>
      </p:sp>
    </p:spTree>
    <p:extLst>
      <p:ext uri="{BB962C8B-B14F-4D97-AF65-F5344CB8AC3E}">
        <p14:creationId xmlns:p14="http://schemas.microsoft.com/office/powerpoint/2010/main" val="33863417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473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64B06-3836-1EF7-0435-5BE191B73F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64E80E-A646-3B93-25F0-AF3FBB56D9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95BC16-D487-46AD-2A40-E028EEE386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E04937-7691-5F76-3D98-0F3D8C95D9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765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71DD1-B08F-B3AE-4390-2880001398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135AAA-4339-E6EA-1ACE-7B88A36C2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9A51C5-6B56-1E2A-60A2-8B1592DC3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5ED0-CA9E-1FA4-7205-2C55E45AC3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2188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2E092A-A456-0E6D-DF39-92E1713A6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20727-56C5-5165-810D-B05CCC99BA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EDEB86-645C-BDD6-B81C-4E13247DF6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19427E-5B06-4E58-5078-6F20E19647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ED10F0-507C-4D4A-A089-BA11918015AF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7140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D9E9D-93A9-4E6A-8E42-DC0055A852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22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F39AB-4A4F-4F5A-9DE2-8F22FCD313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5221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F39AB-4A4F-4F5A-9DE2-8F22FCD313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8334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F39AB-4A4F-4F5A-9DE2-8F22FCD313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0886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B53C8-14E4-49A7-A1A5-3BF810B81E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Noto San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36850292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8B65D-6C70-44D2-77D3-064534688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EDD5FA-2913-350B-2529-3326D9BFB5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690C9D-BD96-2847-D8F2-1F9E397703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D3BF23-BF8E-067C-55D9-39BCD4BF7D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6732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2508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C48555-1188-5B1E-7A5F-47772E187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7B1B5D-D0F4-509E-677A-2B936BB8D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1A31E-CD90-8BA7-47AB-8D91793ECF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b="0"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252D7A-B918-69AF-E49A-C49A1119F3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5539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A608F-6FD5-E83C-2860-03DF64677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A41BD5-BE3D-D15E-66AE-D33ACCFD13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5178F6-833F-F918-62B7-66AC1C278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31BFEB-344D-4DC0-0F3B-B0F15F6A7B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240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34035-1C10-DE37-275E-27E14C4F5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AE075-5749-5916-FF42-AAC1F71168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E16784-6E1C-F51F-00FB-9452362DCA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CE490D-947D-7B66-EB6B-02921E1AD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43099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B6EA30-647A-209C-2B13-113AEAAAA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AE5B7D-073E-7B60-3AB1-3552C7DFB8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D557E-2C71-CD05-E1B2-59CB0E7EE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BE7F9-3C6F-D0EA-A3B7-89A74AC7FA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656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D197D-8D0B-7C49-ED7F-16D15B79C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0175E8-356F-EFEE-53E0-86C058B46D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494888-B3DB-5C9E-C7DB-6459B1F15B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EF8645-9D80-6468-82FA-0B0351D61B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095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49262C-148C-09FB-9681-9F8F59432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B15670-8E39-71A9-368C-B7302A0D5B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51A963-3E96-04F9-F2F9-9F889EABD2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606B6B-15FB-7909-E5E6-B89CCF7AF8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2191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33D233-027C-4DB4-B6DC-CFE7B322C088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5962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2736A7-7791-182F-201C-FB2C06CC59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5DCC6-7146-5A56-8CD6-BC76C798B3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E88B03C-3EBA-4BD0-2348-0EF6A36A13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BC9C1D-559B-C8D8-0E12-5D1E26EB1B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33D233-027C-4DB4-B6DC-CFE7B322C088}" type="slidenum"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0856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F23BD5-367C-7E33-2180-2A6A5EC3AA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3CF87E0-912E-31BD-F9A7-510CD0456C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4B344C-9CF7-F27D-57ED-2733114226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195676-18B7-FCF3-7B3C-16ABFB730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8BD0B0-9885-4FC6-A65E-C2A551FDF6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068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4" Type="http://schemas.openxmlformats.org/officeDocument/2006/relationships/image" Target="../media/image1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16.emf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Relationship Id="rId4" Type="http://schemas.openxmlformats.org/officeDocument/2006/relationships/image" Target="../media/image16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2B86C796-FF9D-2864-5455-48FA5A0892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E7FEC1B8-BD57-C354-EA52-0BED8EEA4D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0DD331CD-7E39-4330-F539-36472921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3C95F60B-377B-76EC-8625-45701256E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6E97877C-E70E-C69B-66EF-B7670602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33850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F906851-C7E2-7C08-34A9-FF2AF6855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E80DF23B-63A5-D0FF-7B68-9965F3AA38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F7183476-1916-8020-6A39-3BE316039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BDB00C9D-833C-1FB8-88B3-ED0E1BC6D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99D72072-0EBB-FA33-EEA2-214C7DD0F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434086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>
            <a:extLst>
              <a:ext uri="{FF2B5EF4-FFF2-40B4-BE49-F238E27FC236}">
                <a16:creationId xmlns:a16="http://schemas.microsoft.com/office/drawing/2014/main" id="{CBAC6130-69A1-DE68-BC12-7127A77B23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1AFAD876-61AD-FA35-ED21-DD84D3ECC6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C29BDDB8-5B63-EEA2-56F7-FB0CACC1E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279E60FA-B807-28E6-8F77-958860B2D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6F3DA899-7E1F-E8D1-E227-9F1FC20B6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79513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841DAF-11CD-4D6E-A9E2-F440749B11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17" y="348063"/>
            <a:ext cx="11248283" cy="94235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800">
                <a:solidFill>
                  <a:srgbClr val="003741"/>
                </a:solidFill>
              </a:defRPr>
            </a:lvl1pPr>
          </a:lstStyle>
          <a:p>
            <a:r>
              <a:rPr lang="en-GB" noProof="0"/>
              <a:t>Enter title here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C723EE4-8616-4984-A1F0-0582DFEC573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817" y="1553345"/>
            <a:ext cx="11248283" cy="4215065"/>
          </a:xfrm>
          <a:prstGeom prst="rect">
            <a:avLst/>
          </a:prstGeo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 sz="23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</a:lstStyle>
          <a:p>
            <a:pPr lvl="0"/>
            <a:r>
              <a:rPr lang="en-GB" noProof="0"/>
              <a:t>Use bullet text here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F493DA45-1050-4E5B-B003-C91658D34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3817" y="6446467"/>
            <a:ext cx="11248283" cy="392483"/>
          </a:xfrm>
          <a:prstGeom prst="rect">
            <a:avLst/>
          </a:prstGeom>
        </p:spPr>
        <p:txBody>
          <a:bodyPr lIns="90000" rIns="0" anchor="b"/>
          <a:lstStyle>
            <a:lvl1pPr algn="l">
              <a:defRPr sz="800">
                <a:solidFill>
                  <a:srgbClr val="003741"/>
                </a:solidFill>
              </a:defRPr>
            </a:lvl1pPr>
          </a:lstStyle>
          <a:p>
            <a:r>
              <a:rPr lang="en-GB" dirty="0"/>
              <a:t>Example footer | July 2018</a:t>
            </a:r>
          </a:p>
        </p:txBody>
      </p:sp>
      <p:pic>
        <p:nvPicPr>
          <p:cNvPr id="7" name="Afbeelding 7">
            <a:extLst>
              <a:ext uri="{FF2B5EF4-FFF2-40B4-BE49-F238E27FC236}">
                <a16:creationId xmlns:a16="http://schemas.microsoft.com/office/drawing/2014/main" id="{6E489564-9CAF-AADE-5215-F26C5A0F1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2" b="13070"/>
          <a:stretch/>
        </p:blipFill>
        <p:spPr>
          <a:xfrm>
            <a:off x="11725403" y="6134100"/>
            <a:ext cx="495173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60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4089544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485AB00-1520-219D-676C-3E8F2C87A6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1210" y="235401"/>
            <a:ext cx="3991276" cy="9848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B8505D9-1C1A-ED58-16A8-56818CB1DD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7525" y="249161"/>
            <a:ext cx="940817" cy="746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89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4108B110-C903-B92E-8A98-E7634D283CC4}"/>
              </a:ext>
            </a:extLst>
          </p:cNvPr>
          <p:cNvGrpSpPr/>
          <p:nvPr userDrawn="1"/>
        </p:nvGrpSpPr>
        <p:grpSpPr>
          <a:xfrm>
            <a:off x="9809410" y="6154855"/>
            <a:ext cx="1980029" cy="577224"/>
            <a:chOff x="9874835" y="6236872"/>
            <a:chExt cx="1980029" cy="577224"/>
          </a:xfrm>
        </p:grpSpPr>
        <p:pic>
          <p:nvPicPr>
            <p:cNvPr id="8" name="Picture 1">
              <a:extLst>
                <a:ext uri="{FF2B5EF4-FFF2-40B4-BE49-F238E27FC236}">
                  <a16:creationId xmlns:a16="http://schemas.microsoft.com/office/drawing/2014/main" id="{2AAA5A12-10C2-B49D-7BFA-E8AA4720F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2460" y="6359769"/>
              <a:ext cx="1793396" cy="454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B3B02F3-5224-20C8-2A8E-65F405D3CD94}"/>
                </a:ext>
              </a:extLst>
            </p:cNvPr>
            <p:cNvSpPr txBox="1"/>
            <p:nvPr/>
          </p:nvSpPr>
          <p:spPr>
            <a:xfrm>
              <a:off x="9874835" y="6236872"/>
              <a:ext cx="198002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lide credit: </a:t>
              </a:r>
              <a:r>
                <a:rPr lang="en-US" sz="8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inicaleducationalliance</a:t>
              </a:r>
              <a:r>
                <a:rPr lang="en-US" sz="800" b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com: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3478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17250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A01F1A-8AE6-48F9-95F4-73790D6CA686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E3C4C036-10CF-4ED7-8A6F-57840B16EB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54413" y="5722043"/>
            <a:ext cx="2944728" cy="72662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95D0A87-BA98-933E-399F-AFF8D1CD22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7525" y="249161"/>
            <a:ext cx="940817" cy="746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363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8A944BB-30DB-18FF-7502-F557A6282984}"/>
              </a:ext>
            </a:extLst>
          </p:cNvPr>
          <p:cNvGrpSpPr/>
          <p:nvPr userDrawn="1"/>
        </p:nvGrpSpPr>
        <p:grpSpPr>
          <a:xfrm>
            <a:off x="9809410" y="6154855"/>
            <a:ext cx="1980029" cy="577224"/>
            <a:chOff x="9874835" y="6236872"/>
            <a:chExt cx="1980029" cy="577224"/>
          </a:xfrm>
        </p:grpSpPr>
        <p:pic>
          <p:nvPicPr>
            <p:cNvPr id="6" name="Picture 1">
              <a:extLst>
                <a:ext uri="{FF2B5EF4-FFF2-40B4-BE49-F238E27FC236}">
                  <a16:creationId xmlns:a16="http://schemas.microsoft.com/office/drawing/2014/main" id="{B71A09A0-3EDA-3995-C1E4-3A6BD25AE7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2460" y="6359769"/>
              <a:ext cx="1793396" cy="454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C4BF9D-7807-AA16-EC67-3731984757AB}"/>
                </a:ext>
              </a:extLst>
            </p:cNvPr>
            <p:cNvSpPr txBox="1"/>
            <p:nvPr/>
          </p:nvSpPr>
          <p:spPr>
            <a:xfrm>
              <a:off x="9874835" y="6236872"/>
              <a:ext cx="198002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lide credit: </a:t>
              </a:r>
              <a:r>
                <a:rPr lang="en-US" sz="8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inicaleducationalliance</a:t>
              </a:r>
              <a:r>
                <a:rPr lang="en-US" sz="800" b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com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2519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3348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73C21999-A843-3C13-E37B-BFAE03F4F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BA078926-E2DD-AF28-A615-D4A2C1B8A4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FD2161DD-8DC5-39A8-B203-F0A1985D4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626C59FB-04E1-6DB8-AB8F-7985E09F2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FCE828F7-08A1-5F66-9E15-575A0ACD8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844250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71B2D7B-845B-9343-5CA9-82B9583736D7}"/>
              </a:ext>
            </a:extLst>
          </p:cNvPr>
          <p:cNvGrpSpPr/>
          <p:nvPr userDrawn="1"/>
        </p:nvGrpSpPr>
        <p:grpSpPr>
          <a:xfrm>
            <a:off x="9809410" y="6154855"/>
            <a:ext cx="1980029" cy="577224"/>
            <a:chOff x="9874835" y="6236872"/>
            <a:chExt cx="1980029" cy="577224"/>
          </a:xfrm>
        </p:grpSpPr>
        <p:pic>
          <p:nvPicPr>
            <p:cNvPr id="4" name="Picture 1">
              <a:extLst>
                <a:ext uri="{FF2B5EF4-FFF2-40B4-BE49-F238E27FC236}">
                  <a16:creationId xmlns:a16="http://schemas.microsoft.com/office/drawing/2014/main" id="{969A5D33-E060-A5B3-8D64-890861DD42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2460" y="6359769"/>
              <a:ext cx="1793396" cy="454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898F2FB-9336-D1AB-8604-245E6FEAE7E0}"/>
                </a:ext>
              </a:extLst>
            </p:cNvPr>
            <p:cNvSpPr txBox="1"/>
            <p:nvPr/>
          </p:nvSpPr>
          <p:spPr>
            <a:xfrm>
              <a:off x="9874835" y="6236872"/>
              <a:ext cx="198002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lide credit: </a:t>
              </a:r>
              <a:r>
                <a:rPr lang="en-US" sz="80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inicaleducationalliance</a:t>
              </a:r>
              <a:r>
                <a:rPr lang="en-US" sz="800" b="0">
                  <a:solidFill>
                    <a:schemeClr val="bg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.com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9363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35575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F9EACC2-568A-498C-8601-A87328BD11D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E1471D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D1E00-A2D3-4202-961C-9DF3DF2683C9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0A4E9-08A7-4826-8D90-46B546D1F341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8A2DB069-00FC-9F9A-99C1-05B7B36D2E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54413" y="5722043"/>
            <a:ext cx="2944728" cy="7266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A4C7FB5-9CBE-7ED3-E5DF-50CA65CF1C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7525" y="249161"/>
            <a:ext cx="940817" cy="746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409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525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2470" y="114300"/>
            <a:ext cx="7765230" cy="1031824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2470" y="1260424"/>
            <a:ext cx="7765230" cy="585001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15490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4" y="114301"/>
            <a:ext cx="11528425" cy="8787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4" y="1298448"/>
            <a:ext cx="11528425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49275" y="6400800"/>
            <a:ext cx="11328093" cy="341313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5003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287463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87463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49275" y="6400800"/>
            <a:ext cx="11328093" cy="341313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7702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4"/>
          <p:cNvSpPr>
            <a:spLocks noGrp="1"/>
          </p:cNvSpPr>
          <p:nvPr>
            <p:ph sz="quarter" idx="10"/>
          </p:nvPr>
        </p:nvSpPr>
        <p:spPr>
          <a:xfrm>
            <a:off x="549275" y="6400800"/>
            <a:ext cx="11328093" cy="341313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8802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6"/>
            <a:ext cx="11203200" cy="1109663"/>
          </a:xfrm>
        </p:spPr>
        <p:txBody>
          <a:bodyPr lIns="90000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28000" y="1316765"/>
            <a:ext cx="11204448" cy="46329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215980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968" y="6223105"/>
            <a:ext cx="8646584" cy="46196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en-GB" dirty="0"/>
              <a:t>References to g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17718" y="90436"/>
            <a:ext cx="1566333" cy="341313"/>
          </a:xfrm>
        </p:spPr>
        <p:txBody>
          <a:bodyPr wrap="none"/>
          <a:lstStyle>
            <a:lvl1pPr marL="0" indent="0" algn="r">
              <a:buNone/>
              <a:defRPr sz="1600">
                <a:solidFill>
                  <a:srgbClr val="007CC2"/>
                </a:solidFill>
              </a:defRPr>
            </a:lvl1pPr>
          </a:lstStyle>
          <a:p>
            <a:pPr lvl="0"/>
            <a:r>
              <a:rPr lang="en-US" dirty="0"/>
              <a:t>Abstract no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0333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177679CD-F37E-CF60-997E-399647D9B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AB22DE6C-9A6F-A4C0-C90E-2F218914CC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D91ABAC0-0827-D901-5337-3D6A68301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0207A65A-7BCB-A506-F5E5-C83BEB6B9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5DB21BC7-6EF5-14D2-A5DF-1973B04B6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264926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403" y="1654141"/>
            <a:ext cx="7728500" cy="162857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29785" y="4077073"/>
            <a:ext cx="7708364" cy="12239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2" descr="exchange large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450825" y="1848556"/>
            <a:ext cx="3725300" cy="5005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HME_primary_rev.png"/>
          <p:cNvPicPr>
            <a:picLocks noChangeAspect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89811" y="5649384"/>
            <a:ext cx="1938867" cy="64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 userDrawn="1"/>
        </p:nvSpPr>
        <p:spPr>
          <a:xfrm>
            <a:off x="574540" y="6465756"/>
            <a:ext cx="3045353" cy="246221"/>
          </a:xfrm>
          <a:prstGeom prst="rect">
            <a:avLst/>
          </a:prstGeom>
          <a:ln>
            <a:noFill/>
          </a:ln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prstClr val="white"/>
                </a:solidFill>
                <a:ea typeface="ＭＳ Ｐゴシック" charset="-128"/>
              </a:rPr>
              <a:t>Zinc code to be inserted</a:t>
            </a:r>
          </a:p>
        </p:txBody>
      </p:sp>
    </p:spTree>
    <p:extLst>
      <p:ext uri="{BB962C8B-B14F-4D97-AF65-F5344CB8AC3E}">
        <p14:creationId xmlns:p14="http://schemas.microsoft.com/office/powerpoint/2010/main" val="1547203380"/>
      </p:ext>
    </p:extLst>
  </p:cSld>
  <p:clrMapOvr>
    <a:masterClrMapping/>
  </p:clrMapOvr>
  <p:transition spd="med">
    <p:fade/>
  </p:transition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010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38AA5-2B64-4B5B-A11F-3ADF85681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6096157"/>
            <a:ext cx="11461750" cy="262943"/>
          </a:xfrm>
        </p:spPr>
        <p:txBody>
          <a:bodyPr bIns="10800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sz="1000"/>
              <a:t>References and abbreviations her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751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CAB9906-18B6-4257-AA9B-21954B0494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6096157"/>
            <a:ext cx="11461750" cy="262943"/>
          </a:xfrm>
        </p:spPr>
        <p:txBody>
          <a:bodyPr bIns="10800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sz="1000"/>
              <a:t>References and abbreviations her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912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38AA5-2B64-4B5B-A11F-3ADF85681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490" y="6111295"/>
            <a:ext cx="11461751" cy="238962"/>
          </a:xfrm>
        </p:spPr>
        <p:txBody>
          <a:bodyPr bIns="10800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844"/>
            </a:lvl1pPr>
          </a:lstStyle>
          <a:p>
            <a:pPr lvl="0"/>
            <a:r>
              <a:rPr lang="en-US" sz="844"/>
              <a:t>References and abbreviations her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873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Unbrande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286778"/>
            <a:ext cx="10363200" cy="885121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1"/>
            <a:ext cx="12192000" cy="3882305"/>
          </a:xfrm>
          <a:solidFill>
            <a:srgbClr val="071D49"/>
          </a:solidFill>
        </p:spPr>
        <p:txBody>
          <a:bodyPr anchor="ctr">
            <a:normAutofit/>
          </a:bodyPr>
          <a:lstStyle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914400" y="5178786"/>
            <a:ext cx="10363200" cy="885118"/>
          </a:xfrm>
        </p:spPr>
        <p:txBody>
          <a:bodyPr>
            <a:normAutofit/>
          </a:bodyPr>
          <a:lstStyle>
            <a:lvl1pPr marL="0" indent="0" algn="ctr">
              <a:buNone/>
              <a:defRPr sz="1600" i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4E6146F-0B1F-4060-8180-BA7EB7FDB2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3746" y="6551793"/>
            <a:ext cx="935420" cy="16252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3991C7A-5E7C-44F1-8BCE-3D8A59A10F17}"/>
              </a:ext>
            </a:extLst>
          </p:cNvPr>
          <p:cNvCxnSpPr>
            <a:cxnSpLocks/>
          </p:cNvCxnSpPr>
          <p:nvPr userDrawn="1"/>
        </p:nvCxnSpPr>
        <p:spPr>
          <a:xfrm>
            <a:off x="381000" y="6413502"/>
            <a:ext cx="1143362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39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240">
          <p15:clr>
            <a:srgbClr val="FBAE40"/>
          </p15:clr>
        </p15:guide>
        <p15:guide id="3" pos="744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8275" indent="-168275">
              <a:buClr>
                <a:srgbClr val="071D49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50" indent="-168275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60425" indent="-177800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4588" indent="-176213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28375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clus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154B02-468B-4674-B816-EAD71BCC89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8275" indent="-168275">
              <a:buClr>
                <a:srgbClr val="071D49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50" indent="-168275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60425" indent="-177800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4588" indent="-176213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2502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01F40-EB96-A03B-656B-8B5ABDF9D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11163133" cy="118800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045F842-1CE9-00C5-009C-116CA8069F0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0000" y="1548000"/>
            <a:ext cx="11700000" cy="432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445BDDB-539C-4474-6026-8FE3415F4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786" y="6480793"/>
            <a:ext cx="6002215" cy="219328"/>
          </a:xfrm>
          <a:prstGeom prst="rect">
            <a:avLst/>
          </a:prstGeom>
        </p:spPr>
        <p:txBody>
          <a:bodyPr/>
          <a:lstStyle>
            <a:lvl1pPr algn="l">
              <a:defRPr lang="en-US" sz="1000" b="0" i="0" kern="1200" dirty="0">
                <a:solidFill>
                  <a:schemeClr val="tx1"/>
                </a:solidFill>
                <a:latin typeface="Jost Light" pitchFamily="2" charset="77"/>
                <a:ea typeface="Jost Light" pitchFamily="2" charset="77"/>
                <a:cs typeface="+mn-cs"/>
              </a:defRPr>
            </a:lvl1pPr>
          </a:lstStyle>
          <a:p>
            <a:r>
              <a:rPr lang="en-GB"/>
              <a:t>Confidential – Do not copy or distribut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7E79B6-13B7-93FC-F6C9-43CC85686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36720" y="6527256"/>
            <a:ext cx="432000" cy="219329"/>
          </a:xfrm>
          <a:prstGeom prst="rect">
            <a:avLst/>
          </a:prstGeom>
        </p:spPr>
        <p:txBody>
          <a:bodyPr/>
          <a:lstStyle>
            <a:lvl1pPr>
              <a:defRPr lang="en-US" sz="1051" b="0" i="0" kern="1200" smtClean="0">
                <a:solidFill>
                  <a:schemeClr val="tx1"/>
                </a:solidFill>
                <a:latin typeface="Jost Light" pitchFamily="2" charset="77"/>
                <a:ea typeface="Jost Light" pitchFamily="2" charset="77"/>
                <a:cs typeface="+mn-cs"/>
              </a:defRPr>
            </a:lvl1pPr>
          </a:lstStyle>
          <a:p>
            <a:fld id="{B0ABAB64-726D-C943-9B15-2E81C6025A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9003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/>
          <a:lstStyle>
            <a:lvl1pPr algn="l">
              <a:defRPr sz="4267" b="1">
                <a:solidFill>
                  <a:srgbClr val="004A6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03704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545455"/>
                </a:solidFill>
              </a:defRPr>
            </a:lvl1pPr>
            <a:lvl2pPr>
              <a:defRPr sz="3200">
                <a:solidFill>
                  <a:srgbClr val="545455"/>
                </a:solidFill>
              </a:defRPr>
            </a:lvl2pPr>
            <a:lvl3pPr>
              <a:defRPr sz="3200">
                <a:solidFill>
                  <a:srgbClr val="545455"/>
                </a:solidFill>
              </a:defRPr>
            </a:lvl3pPr>
            <a:lvl4pPr>
              <a:defRPr sz="3200">
                <a:solidFill>
                  <a:srgbClr val="545455"/>
                </a:solidFill>
              </a:defRPr>
            </a:lvl4pPr>
            <a:lvl5pPr>
              <a:defRPr sz="3200">
                <a:solidFill>
                  <a:srgbClr val="545455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03704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545455"/>
                </a:solidFill>
              </a:defRPr>
            </a:lvl1pPr>
            <a:lvl2pPr>
              <a:defRPr sz="3200">
                <a:solidFill>
                  <a:srgbClr val="545455"/>
                </a:solidFill>
              </a:defRPr>
            </a:lvl2pPr>
            <a:lvl3pPr>
              <a:defRPr sz="3200">
                <a:solidFill>
                  <a:srgbClr val="545455"/>
                </a:solidFill>
              </a:defRPr>
            </a:lvl3pPr>
            <a:lvl4pPr>
              <a:defRPr sz="3200">
                <a:solidFill>
                  <a:srgbClr val="545455"/>
                </a:solidFill>
              </a:defRPr>
            </a:lvl4pPr>
            <a:lvl5pPr>
              <a:defRPr sz="3200">
                <a:solidFill>
                  <a:srgbClr val="545455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46016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364438F-772E-DBD4-8A73-9B6944C8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FF6BA6C9-CDDF-0D95-1C2E-4CA154E7E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10613435-5CE6-BFC7-973A-F7B7FA6F8D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4403FF2D-F6EC-425A-9215-3BDA3BE34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24977F7C-CC07-6A2E-D74F-894D51A74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7AF24856-8A1C-1D1E-2187-CC0C02711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51474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38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and blue smoke with a dart in the center&#10;&#10;Description automatically generated">
            <a:extLst>
              <a:ext uri="{FF2B5EF4-FFF2-40B4-BE49-F238E27FC236}">
                <a16:creationId xmlns:a16="http://schemas.microsoft.com/office/drawing/2014/main" id="{65DD5658-EA73-254E-2427-429FD84F2F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94" b="9732"/>
          <a:stretch/>
        </p:blipFill>
        <p:spPr>
          <a:xfrm>
            <a:off x="6114253" y="3657600"/>
            <a:ext cx="6089657" cy="3200399"/>
          </a:xfrm>
          <a:prstGeom prst="rect">
            <a:avLst/>
          </a:prstGeom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C404A3-49E3-6AE3-6316-79D1DE70A5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6132" y="244938"/>
            <a:ext cx="1681179" cy="89662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802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01276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778E9B7-4949-28BD-165C-8A19BAED805F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6E1A95-6077-6510-20C5-471AD5466E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C6C0729-2E40-00EB-212A-99D70594C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51176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A01F1A-8AE6-48F9-95F4-73790D6CA686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41A963A4-9BB1-F8FF-4636-271CB689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7636" y="5397632"/>
            <a:ext cx="1790865" cy="95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2721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41217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1_Two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2E1199-B50F-0114-1C29-82C8B63ED0EB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F4C4F00-A86F-1C51-F733-91E92FCA18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20CF191-AD96-1DB9-DF2E-4B2B4833E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56991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67692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, Text and Char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FB0C27F-8158-D95C-0270-6C5A18C09C1F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1715040-51BB-5EAD-7551-4E1CFE3430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850B323-4A45-FF99-0514-1788CD001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01773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7254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074100B-74D5-74FD-407D-81ADCA93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36DB9B52-D0FE-EB58-F400-75A870A5C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813667AF-DF77-319C-05A0-5DA79DC1C1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E2D7EDF6-FDEC-2CDA-7C41-E8292EF991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Θέση περιεχομένου 5">
            <a:extLst>
              <a:ext uri="{FF2B5EF4-FFF2-40B4-BE49-F238E27FC236}">
                <a16:creationId xmlns:a16="http://schemas.microsoft.com/office/drawing/2014/main" id="{04AF560B-F4CC-645D-CFD3-E8FC8B037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7" name="Θέση ημερομηνίας 6">
            <a:extLst>
              <a:ext uri="{FF2B5EF4-FFF2-40B4-BE49-F238E27FC236}">
                <a16:creationId xmlns:a16="http://schemas.microsoft.com/office/drawing/2014/main" id="{030F4488-9958-0D3B-978D-E810C04F9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8" name="Θέση υποσέλιδου 7">
            <a:extLst>
              <a:ext uri="{FF2B5EF4-FFF2-40B4-BE49-F238E27FC236}">
                <a16:creationId xmlns:a16="http://schemas.microsoft.com/office/drawing/2014/main" id="{FCB0FC71-F181-6371-895C-C24381DD3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A9AF39AA-B589-0D5B-5B5B-E12E4E7FD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7041329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1FCB4C5-8216-244E-3D93-41E212F40457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CB3AFF3-C9AF-6406-A52C-986F17667A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BE472F0-4C6A-6FBF-3D23-4A0861C31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513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4136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3A659D-6BF1-8E0D-2D7B-19BCEFEA43F4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35B2744-BE30-7F59-641C-E8EE271BFE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61F54A-476D-1E85-D460-3390FD497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94738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F9EACC2-568A-498C-8601-A87328BD11D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E1471D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D1E00-A2D3-4202-961C-9DF3DF2683C9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0A4E9-08A7-4826-8D90-46B546D1F341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E31A8939-5D7B-DDA0-442D-AFC6D9C41D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7636" y="5397632"/>
            <a:ext cx="1790865" cy="95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5868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841DAF-11CD-4D6E-A9E2-F440749B11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17" y="348063"/>
            <a:ext cx="11248283" cy="942353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800">
                <a:solidFill>
                  <a:srgbClr val="003741"/>
                </a:solidFill>
              </a:defRPr>
            </a:lvl1pPr>
          </a:lstStyle>
          <a:p>
            <a:r>
              <a:rPr lang="en-GB" noProof="0"/>
              <a:t>Enter title here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C723EE4-8616-4984-A1F0-0582DFEC573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817" y="1553345"/>
            <a:ext cx="11248283" cy="4215065"/>
          </a:xfrm>
          <a:prstGeom prst="rect">
            <a:avLst/>
          </a:prstGeom>
        </p:spPr>
        <p:txBody>
          <a:bodyPr/>
          <a:lstStyle>
            <a:lvl1pPr>
              <a:lnSpc>
                <a:spcPct val="125000"/>
              </a:lnSpc>
              <a:spcBef>
                <a:spcPts val="0"/>
              </a:spcBef>
              <a:defRPr sz="2300"/>
            </a:lvl1pPr>
            <a:lvl2pPr>
              <a:defRPr sz="2300"/>
            </a:lvl2pPr>
            <a:lvl3pPr>
              <a:defRPr sz="2300"/>
            </a:lvl3pPr>
            <a:lvl4pPr>
              <a:defRPr sz="2300"/>
            </a:lvl4pPr>
            <a:lvl5pPr>
              <a:defRPr sz="2300"/>
            </a:lvl5pPr>
          </a:lstStyle>
          <a:p>
            <a:pPr lvl="0"/>
            <a:r>
              <a:rPr lang="en-GB" noProof="0"/>
              <a:t>Use bullet text here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F493DA45-1050-4E5B-B003-C91658D34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3817" y="6446467"/>
            <a:ext cx="11248283" cy="392483"/>
          </a:xfrm>
          <a:prstGeom prst="rect">
            <a:avLst/>
          </a:prstGeom>
        </p:spPr>
        <p:txBody>
          <a:bodyPr lIns="90000" rIns="0" anchor="b"/>
          <a:lstStyle>
            <a:lvl1pPr algn="l">
              <a:defRPr sz="800">
                <a:solidFill>
                  <a:srgbClr val="003741"/>
                </a:solidFill>
              </a:defRPr>
            </a:lvl1pPr>
          </a:lstStyle>
          <a:p>
            <a:r>
              <a:rPr lang="en-GB" dirty="0"/>
              <a:t>Example footer | July 2018</a:t>
            </a:r>
          </a:p>
        </p:txBody>
      </p:sp>
      <p:pic>
        <p:nvPicPr>
          <p:cNvPr id="7" name="Afbeelding 7">
            <a:extLst>
              <a:ext uri="{FF2B5EF4-FFF2-40B4-BE49-F238E27FC236}">
                <a16:creationId xmlns:a16="http://schemas.microsoft.com/office/drawing/2014/main" id="{6E489564-9CAF-AADE-5215-F26C5A0F1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42" b="13070"/>
          <a:stretch/>
        </p:blipFill>
        <p:spPr>
          <a:xfrm>
            <a:off x="11725403" y="6134100"/>
            <a:ext cx="495173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843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7124E396-1557-6C45-BE56-AF3092013C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42" b="42"/>
          <a:stretch/>
        </p:blipFill>
        <p:spPr>
          <a:xfrm>
            <a:off x="4583672" y="722287"/>
            <a:ext cx="7620680" cy="548222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C8FC7A-7E14-E049-B11F-D356A8C7FA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6/25</a:t>
            </a:fld>
            <a:endParaRPr lang="aa-E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FF3217-D65B-7C4F-9214-B883A64C4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3A6E6B-025B-2F41-ACBB-F7B857D06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  <p:sp>
        <p:nvSpPr>
          <p:cNvPr id="8" name="bg object 17">
            <a:extLst>
              <a:ext uri="{FF2B5EF4-FFF2-40B4-BE49-F238E27FC236}">
                <a16:creationId xmlns:a16="http://schemas.microsoft.com/office/drawing/2014/main" id="{C18A2F94-54A2-A743-9F98-A148DC464C58}"/>
              </a:ext>
            </a:extLst>
          </p:cNvPr>
          <p:cNvSpPr/>
          <p:nvPr userDrawn="1"/>
        </p:nvSpPr>
        <p:spPr>
          <a:xfrm>
            <a:off x="1" y="0"/>
            <a:ext cx="7083425" cy="6858000"/>
          </a:xfrm>
          <a:custGeom>
            <a:avLst/>
            <a:gdLst/>
            <a:ahLst/>
            <a:cxnLst/>
            <a:rect l="l" t="t" r="r" b="b"/>
            <a:pathLst>
              <a:path w="7083425" h="6858000">
                <a:moveTo>
                  <a:pt x="7083082" y="0"/>
                </a:moveTo>
                <a:lnTo>
                  <a:pt x="5436476" y="0"/>
                </a:lnTo>
                <a:lnTo>
                  <a:pt x="0" y="3505"/>
                </a:lnTo>
                <a:lnTo>
                  <a:pt x="0" y="6858000"/>
                </a:lnTo>
                <a:lnTo>
                  <a:pt x="4741938" y="6858000"/>
                </a:lnTo>
                <a:lnTo>
                  <a:pt x="7083082" y="0"/>
                </a:lnTo>
                <a:close/>
              </a:path>
            </a:pathLst>
          </a:custGeom>
          <a:solidFill>
            <a:srgbClr val="005193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bg object 19">
            <a:extLst>
              <a:ext uri="{FF2B5EF4-FFF2-40B4-BE49-F238E27FC236}">
                <a16:creationId xmlns:a16="http://schemas.microsoft.com/office/drawing/2014/main" id="{5CE3A3CB-36CC-014B-8861-E4FF3B8F6C3C}"/>
              </a:ext>
            </a:extLst>
          </p:cNvPr>
          <p:cNvSpPr/>
          <p:nvPr userDrawn="1"/>
        </p:nvSpPr>
        <p:spPr>
          <a:xfrm>
            <a:off x="1" y="6204343"/>
            <a:ext cx="12193271" cy="654050"/>
          </a:xfrm>
          <a:custGeom>
            <a:avLst/>
            <a:gdLst/>
            <a:ahLst/>
            <a:cxnLst/>
            <a:rect l="l" t="t" r="r" b="b"/>
            <a:pathLst>
              <a:path w="12193270" h="654050">
                <a:moveTo>
                  <a:pt x="12193206" y="0"/>
                </a:moveTo>
                <a:lnTo>
                  <a:pt x="0" y="0"/>
                </a:lnTo>
                <a:lnTo>
                  <a:pt x="0" y="653656"/>
                </a:lnTo>
                <a:lnTo>
                  <a:pt x="12193206" y="653656"/>
                </a:lnTo>
                <a:lnTo>
                  <a:pt x="121932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41344BAE-B116-B346-9A99-DA8EFB937555}"/>
              </a:ext>
            </a:extLst>
          </p:cNvPr>
          <p:cNvSpPr txBox="1"/>
          <p:nvPr userDrawn="1"/>
        </p:nvSpPr>
        <p:spPr>
          <a:xfrm>
            <a:off x="457202" y="6396090"/>
            <a:ext cx="1036319" cy="2430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500" b="1" spc="-5" dirty="0">
                <a:solidFill>
                  <a:srgbClr val="005193"/>
                </a:solidFill>
                <a:latin typeface="DIN"/>
                <a:cs typeface="DIN"/>
              </a:rPr>
              <a:t>eha</a:t>
            </a:r>
            <a:r>
              <a:rPr sz="1500" b="1" spc="-20" dirty="0">
                <a:solidFill>
                  <a:srgbClr val="005193"/>
                </a:solidFill>
                <a:latin typeface="DIN"/>
                <a:cs typeface="DIN"/>
              </a:rPr>
              <a:t>w</a:t>
            </a:r>
            <a:r>
              <a:rPr sz="1500" b="1" spc="-5" dirty="0">
                <a:solidFill>
                  <a:srgbClr val="005193"/>
                </a:solidFill>
                <a:latin typeface="DIN"/>
                <a:cs typeface="DIN"/>
              </a:rPr>
              <a:t>eb.o</a:t>
            </a:r>
            <a:r>
              <a:rPr sz="1500" b="1" spc="-55" dirty="0">
                <a:solidFill>
                  <a:srgbClr val="005193"/>
                </a:solidFill>
                <a:latin typeface="DIN"/>
                <a:cs typeface="DIN"/>
              </a:rPr>
              <a:t>r</a:t>
            </a:r>
            <a:r>
              <a:rPr sz="1500" b="1" spc="-5" dirty="0">
                <a:solidFill>
                  <a:srgbClr val="005193"/>
                </a:solidFill>
                <a:latin typeface="DIN"/>
                <a:cs typeface="DIN"/>
              </a:rPr>
              <a:t>g</a:t>
            </a:r>
            <a:endParaRPr sz="1500" dirty="0">
              <a:latin typeface="DIN"/>
              <a:cs typeface="DIN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4C429CA-CDAD-6043-ABCF-64F839F939F8}"/>
              </a:ext>
            </a:extLst>
          </p:cNvPr>
          <p:cNvGrpSpPr/>
          <p:nvPr userDrawn="1"/>
        </p:nvGrpSpPr>
        <p:grpSpPr>
          <a:xfrm>
            <a:off x="1" y="2"/>
            <a:ext cx="2805431" cy="1307465"/>
            <a:chOff x="0" y="0"/>
            <a:chExt cx="2805430" cy="1307465"/>
          </a:xfrm>
        </p:grpSpPr>
        <p:sp>
          <p:nvSpPr>
            <p:cNvPr id="13" name="object 766">
              <a:extLst>
                <a:ext uri="{FF2B5EF4-FFF2-40B4-BE49-F238E27FC236}">
                  <a16:creationId xmlns:a16="http://schemas.microsoft.com/office/drawing/2014/main" id="{FE425F61-E7A4-5741-94F1-018C22E84BB3}"/>
                </a:ext>
              </a:extLst>
            </p:cNvPr>
            <p:cNvSpPr/>
            <p:nvPr/>
          </p:nvSpPr>
          <p:spPr>
            <a:xfrm>
              <a:off x="0" y="0"/>
              <a:ext cx="2805430" cy="1307465"/>
            </a:xfrm>
            <a:custGeom>
              <a:avLst/>
              <a:gdLst/>
              <a:ahLst/>
              <a:cxnLst/>
              <a:rect l="l" t="t" r="r" b="b"/>
              <a:pathLst>
                <a:path w="2805430" h="1307465">
                  <a:moveTo>
                    <a:pt x="2805036" y="0"/>
                  </a:moveTo>
                  <a:lnTo>
                    <a:pt x="0" y="0"/>
                  </a:lnTo>
                  <a:lnTo>
                    <a:pt x="0" y="1307312"/>
                  </a:lnTo>
                  <a:lnTo>
                    <a:pt x="2367826" y="1307312"/>
                  </a:lnTo>
                  <a:lnTo>
                    <a:pt x="28050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pic>
          <p:nvPicPr>
            <p:cNvPr id="14" name="Picture 1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F3EAADC2-DA55-884B-BBFC-8A1628597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840" y="259581"/>
              <a:ext cx="1844960" cy="848525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AAAD549-3870-0644-BF43-C1BDE847D33F}"/>
              </a:ext>
            </a:extLst>
          </p:cNvPr>
          <p:cNvGrpSpPr/>
          <p:nvPr userDrawn="1"/>
        </p:nvGrpSpPr>
        <p:grpSpPr>
          <a:xfrm>
            <a:off x="2514600" y="2"/>
            <a:ext cx="9344901" cy="1877695"/>
            <a:chOff x="2514600" y="0"/>
            <a:chExt cx="9344901" cy="1877695"/>
          </a:xfrm>
        </p:grpSpPr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D7C8CA96-0642-9D47-8351-E69F8C11120B}"/>
                </a:ext>
              </a:extLst>
            </p:cNvPr>
            <p:cNvSpPr/>
            <p:nvPr/>
          </p:nvSpPr>
          <p:spPr>
            <a:xfrm>
              <a:off x="2514600" y="0"/>
              <a:ext cx="4113431" cy="1877695"/>
            </a:xfrm>
            <a:custGeom>
              <a:avLst/>
              <a:gdLst/>
              <a:ahLst/>
              <a:cxnLst/>
              <a:rect l="l" t="t" r="r" b="b"/>
              <a:pathLst>
                <a:path w="4320540" h="1877695">
                  <a:moveTo>
                    <a:pt x="447154" y="0"/>
                  </a:moveTo>
                  <a:lnTo>
                    <a:pt x="0" y="1320165"/>
                  </a:lnTo>
                  <a:lnTo>
                    <a:pt x="2029688" y="808926"/>
                  </a:lnTo>
                  <a:lnTo>
                    <a:pt x="4320006" y="1307325"/>
                  </a:lnTo>
                  <a:lnTo>
                    <a:pt x="3380397" y="1877402"/>
                  </a:lnTo>
                  <a:lnTo>
                    <a:pt x="2041372" y="808926"/>
                  </a:lnTo>
                </a:path>
              </a:pathLst>
            </a:custGeom>
            <a:ln w="1681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412073E2-C74B-674C-8ABF-0F8CD9102FE6}"/>
                </a:ext>
              </a:extLst>
            </p:cNvPr>
            <p:cNvSpPr/>
            <p:nvPr/>
          </p:nvSpPr>
          <p:spPr>
            <a:xfrm>
              <a:off x="6635676" y="650985"/>
              <a:ext cx="5223825" cy="1047115"/>
            </a:xfrm>
            <a:custGeom>
              <a:avLst/>
              <a:gdLst/>
              <a:ahLst/>
              <a:cxnLst/>
              <a:rect l="l" t="t" r="r" b="b"/>
              <a:pathLst>
                <a:path w="5290820" h="1047114">
                  <a:moveTo>
                    <a:pt x="0" y="660488"/>
                  </a:moveTo>
                  <a:lnTo>
                    <a:pt x="2037295" y="803465"/>
                  </a:lnTo>
                  <a:lnTo>
                    <a:pt x="3479431" y="0"/>
                  </a:lnTo>
                  <a:lnTo>
                    <a:pt x="4570564" y="1046530"/>
                  </a:lnTo>
                  <a:lnTo>
                    <a:pt x="5290223" y="279209"/>
                  </a:lnTo>
                  <a:lnTo>
                    <a:pt x="3479431" y="0"/>
                  </a:lnTo>
                </a:path>
              </a:pathLst>
            </a:custGeom>
            <a:ln w="16814">
              <a:solidFill>
                <a:srgbClr val="005193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46D75527-D65F-914C-919F-4DE488B7A3F7}"/>
                </a:ext>
              </a:extLst>
            </p:cNvPr>
            <p:cNvSpPr/>
            <p:nvPr/>
          </p:nvSpPr>
          <p:spPr>
            <a:xfrm>
              <a:off x="6464630" y="1454447"/>
              <a:ext cx="4689029" cy="314325"/>
            </a:xfrm>
            <a:custGeom>
              <a:avLst/>
              <a:gdLst/>
              <a:ahLst/>
              <a:cxnLst/>
              <a:rect l="l" t="t" r="r" b="b"/>
              <a:pathLst>
                <a:path w="4749165" h="314325">
                  <a:moveTo>
                    <a:pt x="0" y="313918"/>
                  </a:moveTo>
                  <a:lnTo>
                    <a:pt x="2210536" y="0"/>
                  </a:lnTo>
                  <a:lnTo>
                    <a:pt x="4748568" y="243065"/>
                  </a:lnTo>
                </a:path>
              </a:pathLst>
            </a:custGeom>
            <a:ln w="16814">
              <a:solidFill>
                <a:srgbClr val="005193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32C29DE7-4EA4-1646-9912-3A14B2274E5C}"/>
                </a:ext>
              </a:extLst>
            </p:cNvPr>
            <p:cNvSpPr/>
            <p:nvPr userDrawn="1"/>
          </p:nvSpPr>
          <p:spPr>
            <a:xfrm>
              <a:off x="5727371" y="1768363"/>
              <a:ext cx="744579" cy="109332"/>
            </a:xfrm>
            <a:custGeom>
              <a:avLst/>
              <a:gdLst/>
              <a:ahLst/>
              <a:cxnLst/>
              <a:rect l="l" t="t" r="r" b="b"/>
              <a:pathLst>
                <a:path w="768350" h="109219">
                  <a:moveTo>
                    <a:pt x="0" y="109067"/>
                  </a:moveTo>
                  <a:lnTo>
                    <a:pt x="768045" y="0"/>
                  </a:lnTo>
                </a:path>
              </a:pathLst>
            </a:custGeom>
            <a:ln w="1681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21" name="object 6">
            <a:extLst>
              <a:ext uri="{FF2B5EF4-FFF2-40B4-BE49-F238E27FC236}">
                <a16:creationId xmlns:a16="http://schemas.microsoft.com/office/drawing/2014/main" id="{D07B8ABF-F745-214E-81FB-58DCE8691B09}"/>
              </a:ext>
            </a:extLst>
          </p:cNvPr>
          <p:cNvSpPr/>
          <p:nvPr userDrawn="1"/>
        </p:nvSpPr>
        <p:spPr>
          <a:xfrm>
            <a:off x="9932816" y="6204343"/>
            <a:ext cx="2260600" cy="654050"/>
          </a:xfrm>
          <a:custGeom>
            <a:avLst/>
            <a:gdLst/>
            <a:ahLst/>
            <a:cxnLst/>
            <a:rect l="l" t="t" r="r" b="b"/>
            <a:pathLst>
              <a:path w="2260600" h="654050">
                <a:moveTo>
                  <a:pt x="2260384" y="0"/>
                </a:moveTo>
                <a:lnTo>
                  <a:pt x="221653" y="0"/>
                </a:lnTo>
                <a:lnTo>
                  <a:pt x="0" y="653656"/>
                </a:lnTo>
                <a:lnTo>
                  <a:pt x="2260384" y="653656"/>
                </a:lnTo>
                <a:lnTo>
                  <a:pt x="2260384" y="0"/>
                </a:lnTo>
                <a:close/>
              </a:path>
            </a:pathLst>
          </a:custGeom>
          <a:solidFill>
            <a:srgbClr val="8136CE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99636EB-4716-0A44-B05E-5C052E923BE6}"/>
              </a:ext>
            </a:extLst>
          </p:cNvPr>
          <p:cNvSpPr txBox="1"/>
          <p:nvPr userDrawn="1"/>
        </p:nvSpPr>
        <p:spPr>
          <a:xfrm>
            <a:off x="10210800" y="6327363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3716615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17F1ED-7A6F-7C4F-ABF5-D4DE425ABE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6/25</a:t>
            </a:fld>
            <a:endParaRPr lang="aa-E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600015-E383-4D43-9BB8-F1B2DA63D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839552-FF79-C943-AC66-551BA99DD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FBBE53B-F813-2D4B-9096-D804245BA65E}"/>
              </a:ext>
            </a:extLst>
          </p:cNvPr>
          <p:cNvSpPr/>
          <p:nvPr userDrawn="1"/>
        </p:nvSpPr>
        <p:spPr>
          <a:xfrm>
            <a:off x="1" y="0"/>
            <a:ext cx="12193271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206" y="0"/>
                </a:moveTo>
                <a:lnTo>
                  <a:pt x="0" y="0"/>
                </a:lnTo>
                <a:lnTo>
                  <a:pt x="0" y="6858000"/>
                </a:lnTo>
                <a:lnTo>
                  <a:pt x="12193206" y="6858000"/>
                </a:lnTo>
                <a:lnTo>
                  <a:pt x="12193206" y="0"/>
                </a:lnTo>
                <a:close/>
              </a:path>
            </a:pathLst>
          </a:custGeom>
          <a:solidFill>
            <a:srgbClr val="D9E5E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DDD79578-70AB-EF4F-A384-B9E1B707A50F}"/>
              </a:ext>
            </a:extLst>
          </p:cNvPr>
          <p:cNvSpPr/>
          <p:nvPr userDrawn="1"/>
        </p:nvSpPr>
        <p:spPr>
          <a:xfrm>
            <a:off x="-1" y="6204341"/>
            <a:ext cx="12186285" cy="654050"/>
          </a:xfrm>
          <a:custGeom>
            <a:avLst/>
            <a:gdLst/>
            <a:ahLst/>
            <a:cxnLst/>
            <a:rect l="l" t="t" r="r" b="b"/>
            <a:pathLst>
              <a:path w="12186285" h="654050">
                <a:moveTo>
                  <a:pt x="12186005" y="0"/>
                </a:moveTo>
                <a:lnTo>
                  <a:pt x="221653" y="0"/>
                </a:lnTo>
                <a:lnTo>
                  <a:pt x="0" y="653656"/>
                </a:lnTo>
                <a:lnTo>
                  <a:pt x="12186005" y="653656"/>
                </a:lnTo>
                <a:lnTo>
                  <a:pt x="1218600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353B575-BD9A-8A4D-87DA-73DB9EC27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35" y="6324602"/>
            <a:ext cx="875968" cy="4028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E751E8-3D89-1948-A9C3-00034150585B}"/>
              </a:ext>
            </a:extLst>
          </p:cNvPr>
          <p:cNvSpPr txBox="1"/>
          <p:nvPr userDrawn="1"/>
        </p:nvSpPr>
        <p:spPr>
          <a:xfrm>
            <a:off x="10210800" y="6327362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BF0C7DE7-689C-1243-BB20-E1B1BFDF80A7}"/>
              </a:ext>
            </a:extLst>
          </p:cNvPr>
          <p:cNvSpPr/>
          <p:nvPr userDrawn="1"/>
        </p:nvSpPr>
        <p:spPr>
          <a:xfrm>
            <a:off x="9932816" y="6204343"/>
            <a:ext cx="2260600" cy="654050"/>
          </a:xfrm>
          <a:custGeom>
            <a:avLst/>
            <a:gdLst/>
            <a:ahLst/>
            <a:cxnLst/>
            <a:rect l="l" t="t" r="r" b="b"/>
            <a:pathLst>
              <a:path w="2260600" h="654050">
                <a:moveTo>
                  <a:pt x="2260384" y="0"/>
                </a:moveTo>
                <a:lnTo>
                  <a:pt x="221653" y="0"/>
                </a:lnTo>
                <a:lnTo>
                  <a:pt x="0" y="653656"/>
                </a:lnTo>
                <a:lnTo>
                  <a:pt x="2260384" y="653656"/>
                </a:lnTo>
                <a:lnTo>
                  <a:pt x="2260384" y="0"/>
                </a:lnTo>
                <a:close/>
              </a:path>
            </a:pathLst>
          </a:custGeom>
          <a:solidFill>
            <a:srgbClr val="8136CE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E9C604-5EB6-A347-829A-AA1A12632E52}"/>
              </a:ext>
            </a:extLst>
          </p:cNvPr>
          <p:cNvSpPr txBox="1"/>
          <p:nvPr userDrawn="1"/>
        </p:nvSpPr>
        <p:spPr>
          <a:xfrm>
            <a:off x="10210800" y="6327363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88992421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764D54-B440-7B49-8324-69D784B0A8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2005"/>
            <a:ext cx="10515600" cy="43513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aa-E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A31C3D-ED10-7849-B18A-6CFCE5C67C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6/25</a:t>
            </a:fld>
            <a:endParaRPr lang="aa-E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B1C7D0-4579-D84B-9458-301F7DC57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B9CE3-246A-8B45-87F6-800E1DE13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47F2A04-6406-F040-845B-87B4D1339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440801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3312-DE5F-E543-80F5-4BF3222510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02852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3CF4E-CF51-8940-9059-DBC644883E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02852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65170E-CB63-4E4A-AF87-698A2AA91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1152970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A8EA49-DA94-A749-87DD-5E525455C9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FD31F4-E805-E044-B41E-4C665003BA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7"/>
            <a:ext cx="5157787" cy="334907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aa-E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8C1A29-0D0F-EA47-8649-6E0E31873B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6592FF-B6BF-7842-93A0-B7E296DAA3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7"/>
            <a:ext cx="5183188" cy="334907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170B229-5D29-AF47-B8F8-C2357E159D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117572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16E0735-7396-C414-0583-D71028C17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69B2D56E-F4B9-66CB-5AFD-8411B2CB2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0F5983FE-3171-C8FD-EFF7-0F5920A70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F1FF49C6-CC83-015B-832B-DAD6AC713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334571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F878A-5DF5-0D40-83E9-0EA583684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9349614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8F5B8-7264-7E48-8C96-A3E35010F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653826"/>
            <a:ext cx="8811108" cy="443198"/>
          </a:xfrm>
          <a:prstGeom prst="rect">
            <a:avLst/>
          </a:prstGeom>
        </p:spPr>
        <p:txBody>
          <a:bodyPr anchor="t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  <a:endParaRPr lang="aa-E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5677CC-6B25-F14F-8579-DC6F1A19F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40222"/>
            <a:ext cx="6172200" cy="3811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7C0D7E-D1D7-A343-9BC3-9885C527BA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54022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1E823-0CC1-794A-9020-B99D7339A6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6/25</a:t>
            </a:fld>
            <a:endParaRPr lang="aa-E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4B3D8D-EA7B-9E40-85FF-48E60A236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490B32-ACF9-684E-B2F6-5B34EA0B9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2592104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87785-EEA6-0D46-918B-7C13A9FBB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63765"/>
            <a:ext cx="3932237" cy="886397"/>
          </a:xfrm>
          <a:prstGeom prst="rect">
            <a:avLst/>
          </a:prstGeom>
        </p:spPr>
        <p:txBody>
          <a:bodyPr anchor="t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aa-E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F3077A2-96F8-BD46-ACFF-98DA83F334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663765"/>
            <a:ext cx="6172200" cy="519728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aa-E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BE091C-AF71-B74F-9E19-35CC883D52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E5FFBD-261A-5C4C-A14D-270A0A795E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6/25</a:t>
            </a:fld>
            <a:endParaRPr lang="aa-E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6AD444-BD62-4E4A-B642-C91E061B2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8BAB3-404B-8F43-91B9-28A93830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9566262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 lang="aa-ET"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156201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819910" y="6343650"/>
            <a:ext cx="1129077" cy="269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AF44B5-6D56-4B59-9C1D-2022F9BFF5DA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7081B4C-D32C-E090-C7D3-FBAAFA418B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F55D6BF-140C-7517-00E1-E063CA058B72}"/>
              </a:ext>
            </a:extLst>
          </p:cNvPr>
          <p:cNvSpPr/>
          <p:nvPr userDrawn="1"/>
        </p:nvSpPr>
        <p:spPr bwMode="auto">
          <a:xfrm>
            <a:off x="365125" y="390525"/>
            <a:ext cx="11460163" cy="5401875"/>
          </a:xfrm>
          <a:prstGeom prst="roundRect">
            <a:avLst>
              <a:gd name="adj" fmla="val 595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5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4817268"/>
            <a:ext cx="1052195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6058694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EE2E33-B2AB-59FB-D2C0-47A2BAE82C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919" y="2367322"/>
            <a:ext cx="11460162" cy="1664875"/>
          </a:xfrm>
          <a:prstGeom prst="roundRect">
            <a:avLst>
              <a:gd name="adj" fmla="val 10618"/>
            </a:avLst>
          </a:prstGeom>
          <a:gradFill flip="none" rotWithShape="1">
            <a:gsLst>
              <a:gs pos="16000">
                <a:schemeClr val="tx2"/>
              </a:gs>
              <a:gs pos="55000">
                <a:srgbClr val="F8981B"/>
              </a:gs>
              <a:gs pos="35000">
                <a:srgbClr val="F98D15"/>
              </a:gs>
              <a:gs pos="99083">
                <a:srgbClr val="F26200"/>
              </a:gs>
              <a:gs pos="0">
                <a:schemeClr val="tx2">
                  <a:lumMod val="75000"/>
                </a:schemeClr>
              </a:gs>
              <a:gs pos="79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GB" sz="36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en-GB"/>
              <a:t>Click to enter presentation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7777690-7045-1FD0-C559-3D2F6FEAA72E}"/>
              </a:ext>
            </a:extLst>
          </p:cNvPr>
          <p:cNvGrpSpPr/>
          <p:nvPr userDrawn="1"/>
        </p:nvGrpSpPr>
        <p:grpSpPr>
          <a:xfrm rot="10800000" flipH="1" flipV="1">
            <a:off x="0" y="7938"/>
            <a:ext cx="5256621" cy="1351305"/>
            <a:chOff x="0" y="-7916"/>
            <a:chExt cx="18431747" cy="3773073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D34FB1E6-F4CE-E027-2C75-E240DFBEFE76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32CA1AA2-146B-339F-DE9A-F0415A3710DF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CE5A5CB-DEF8-6DE9-22DA-D842657A1893}"/>
              </a:ext>
            </a:extLst>
          </p:cNvPr>
          <p:cNvGrpSpPr/>
          <p:nvPr userDrawn="1"/>
        </p:nvGrpSpPr>
        <p:grpSpPr>
          <a:xfrm flipH="1" flipV="1">
            <a:off x="5256621" y="5272500"/>
            <a:ext cx="6935379" cy="1637476"/>
            <a:chOff x="0" y="-7916"/>
            <a:chExt cx="18431747" cy="3773073"/>
          </a:xfrm>
        </p:grpSpPr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88709F83-2848-E691-3C8D-C1D5FD6D27D0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85D8089B-3A6B-8EE9-ECE4-B79E5C64EC66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12965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125" y="2100263"/>
            <a:ext cx="11460163" cy="2141007"/>
          </a:xfrm>
          <a:prstGeom prst="roundRect">
            <a:avLst>
              <a:gd name="adj" fmla="val 9014"/>
            </a:avLst>
          </a:prstGeom>
          <a:solidFill>
            <a:schemeClr val="bg1"/>
          </a:solidFill>
        </p:spPr>
        <p:txBody>
          <a:bodyPr vert="horz" anchor="ctr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4487078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6BF1C1D-BE11-327F-7D04-D4D8869EA6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6058694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E4B634F-C493-1552-4BEE-EA026C7A7F94}"/>
              </a:ext>
            </a:extLst>
          </p:cNvPr>
          <p:cNvGrpSpPr/>
          <p:nvPr userDrawn="1"/>
        </p:nvGrpSpPr>
        <p:grpSpPr>
          <a:xfrm rot="10800000" flipH="1" flipV="1">
            <a:off x="0" y="-854"/>
            <a:ext cx="5256621" cy="1351305"/>
            <a:chOff x="0" y="-7916"/>
            <a:chExt cx="18431747" cy="37730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32B9BD3-3CA5-913F-EC24-A10E48F922A6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72E01C79-6131-FC0A-7DF5-7B8AB37DA9A7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9D4DF5C-95C7-8539-5A40-557DBCA12799}"/>
              </a:ext>
            </a:extLst>
          </p:cNvPr>
          <p:cNvGrpSpPr/>
          <p:nvPr userDrawn="1"/>
        </p:nvGrpSpPr>
        <p:grpSpPr>
          <a:xfrm flipH="1" flipV="1">
            <a:off x="5256621" y="5272500"/>
            <a:ext cx="6935379" cy="1637476"/>
            <a:chOff x="0" y="-7916"/>
            <a:chExt cx="18431747" cy="3773073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BA6E798-E6C4-15E6-5E29-3D42C9DBC1CA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782B2B21-6978-EFA0-01C5-202393BF7496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9874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63E046BA-94C0-012E-627F-493F12824F57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1166811"/>
          </a:xfrm>
          <a:prstGeom prst="round2SameRect">
            <a:avLst>
              <a:gd name="adj1" fmla="val 16667"/>
              <a:gd name="adj2" fmla="val 0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756475" y="6343650"/>
            <a:ext cx="1192512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7F4CD0-83C1-4C99-A2BD-6DA4A1CC9D00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DC54694-9AFE-1243-637E-994529796B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32A465AF-0CEE-9B87-84B6-46EFB20123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white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2C3F43C-FC7A-0542-CDEC-38002E521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583862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6290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E56E75AF-5F25-4358-08BF-30B90C43DE05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1166811"/>
          </a:xfrm>
          <a:prstGeom prst="round2SameRect">
            <a:avLst>
              <a:gd name="adj1" fmla="val 16667"/>
              <a:gd name="adj2" fmla="val 0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white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B124F8D-6A21-41BB-B641-CA493D4F9456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880767"/>
            <a:ext cx="10455274" cy="3528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1DEFBF-52A2-EFFF-8109-AEB9B18BB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5"/>
            <a:ext cx="10455274" cy="649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684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subhea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9C3FA27-BD1D-FE2D-DA60-53DD820DEEFE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1604962"/>
          </a:xfrm>
          <a:prstGeom prst="round2SameRect">
            <a:avLst>
              <a:gd name="adj1" fmla="val 13106"/>
              <a:gd name="adj2" fmla="val 0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0454943" cy="399600"/>
          </a:xfrm>
          <a:prstGeom prst="rect">
            <a:avLst/>
          </a:prstGeom>
        </p:spPr>
        <p:txBody>
          <a:bodyPr lIns="7200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36D2BF-D8B1-4705-ABD7-209D78E9EBFF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4948F27-704C-1DAA-6914-09547F51E5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7F5652CC-31B7-35D1-F534-1C9629A68A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828800"/>
            <a:ext cx="11460164" cy="3967162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white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00949D2F-677B-90E1-923C-69C49ED7AE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54944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5C4A2E0-E36C-97FC-D167-2FB2EB53C8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880767"/>
            <a:ext cx="10455274" cy="3528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54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326D8942-FBFD-1498-BAC6-D0F8D8F11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5720D62A-81DB-AD60-AE6C-D233D14C0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7ADA88C5-24ED-B3CB-CEBC-45B93098A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396183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6" y="1019176"/>
            <a:ext cx="5602288" cy="4762500"/>
          </a:xfrm>
          <a:prstGeom prst="roundRect">
            <a:avLst>
              <a:gd name="adj" fmla="val 2842"/>
            </a:avLst>
          </a:prstGeom>
          <a:solidFill>
            <a:schemeClr val="bg1"/>
          </a:solidFill>
        </p:spPr>
        <p:txBody>
          <a:bodyPr lIns="0" tIns="432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22C42CC-B64F-E766-D49E-1EFF1180BA06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936625"/>
          </a:xfrm>
          <a:prstGeom prst="roundRect">
            <a:avLst>
              <a:gd name="adj" fmla="val 24804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747849" y="6343650"/>
            <a:ext cx="1201138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AF67FF-E09E-42E7-8CF4-0C88178FECBB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6755595-F15E-41BF-2704-FC4226C9D34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B5E5F56F-1887-BA68-9575-D09217CEF9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543129"/>
            <a:ext cx="5602288" cy="4238548"/>
          </a:xfrm>
          <a:prstGeom prst="roundRect">
            <a:avLst>
              <a:gd name="adj" fmla="val 4782"/>
            </a:avLst>
          </a:prstGeom>
          <a:solidFill>
            <a:schemeClr val="bg1"/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061E5B65-852C-CDC8-35F5-BD169EDAB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55274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BE63857-F3C7-70A0-3864-242C66E392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880767"/>
            <a:ext cx="10455274" cy="3528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500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B116F58-844E-3EBF-F321-4840E2339F5E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936625"/>
          </a:xfrm>
          <a:prstGeom prst="roundRect">
            <a:avLst>
              <a:gd name="adj" fmla="val 24804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>
              <a:solidFill>
                <a:schemeClr val="tx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331F950-B0EC-9E11-FCB4-1238544B87C0}"/>
              </a:ext>
            </a:extLst>
          </p:cNvPr>
          <p:cNvSpPr/>
          <p:nvPr userDrawn="1"/>
        </p:nvSpPr>
        <p:spPr bwMode="auto">
          <a:xfrm>
            <a:off x="4270374" y="1481138"/>
            <a:ext cx="7554914" cy="4300004"/>
          </a:xfrm>
          <a:prstGeom prst="roundRect">
            <a:avLst>
              <a:gd name="adj" fmla="val 539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AF67FF-E09E-42E7-8CF4-0C88178FECBB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8BC4D61-F9B8-479C-F64B-59FBB3FC6AD0}"/>
              </a:ext>
            </a:extLst>
          </p:cNvPr>
          <p:cNvSpPr/>
          <p:nvPr userDrawn="1"/>
        </p:nvSpPr>
        <p:spPr>
          <a:xfrm>
            <a:off x="365125" y="1480605"/>
            <a:ext cx="3916881" cy="4300536"/>
          </a:xfrm>
          <a:custGeom>
            <a:avLst/>
            <a:gdLst>
              <a:gd name="connsiteX0" fmla="*/ 167483 w 3916881"/>
              <a:gd name="connsiteY0" fmla="*/ 0 h 4477804"/>
              <a:gd name="connsiteX1" fmla="*/ 3485355 w 3916881"/>
              <a:gd name="connsiteY1" fmla="*/ 0 h 4477804"/>
              <a:gd name="connsiteX2" fmla="*/ 3652838 w 3916881"/>
              <a:gd name="connsiteY2" fmla="*/ 167483 h 4477804"/>
              <a:gd name="connsiteX3" fmla="*/ 3652838 w 3916881"/>
              <a:gd name="connsiteY3" fmla="*/ 517226 h 4477804"/>
              <a:gd name="connsiteX4" fmla="*/ 3912021 w 3916881"/>
              <a:gd name="connsiteY4" fmla="*/ 791524 h 4477804"/>
              <a:gd name="connsiteX5" fmla="*/ 3912021 w 3916881"/>
              <a:gd name="connsiteY5" fmla="*/ 802323 h 4477804"/>
              <a:gd name="connsiteX6" fmla="*/ 3652838 w 3916881"/>
              <a:gd name="connsiteY6" fmla="*/ 1076623 h 4477804"/>
              <a:gd name="connsiteX7" fmla="*/ 3652838 w 3916881"/>
              <a:gd name="connsiteY7" fmla="*/ 4310321 h 4477804"/>
              <a:gd name="connsiteX8" fmla="*/ 3485355 w 3916881"/>
              <a:gd name="connsiteY8" fmla="*/ 4477804 h 4477804"/>
              <a:gd name="connsiteX9" fmla="*/ 167483 w 3916881"/>
              <a:gd name="connsiteY9" fmla="*/ 4477804 h 4477804"/>
              <a:gd name="connsiteX10" fmla="*/ 0 w 3916881"/>
              <a:gd name="connsiteY10" fmla="*/ 4310321 h 4477804"/>
              <a:gd name="connsiteX11" fmla="*/ 0 w 3916881"/>
              <a:gd name="connsiteY11" fmla="*/ 167483 h 4477804"/>
              <a:gd name="connsiteX12" fmla="*/ 167483 w 3916881"/>
              <a:gd name="connsiteY12" fmla="*/ 0 h 447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16881" h="4477804">
                <a:moveTo>
                  <a:pt x="167483" y="0"/>
                </a:moveTo>
                <a:lnTo>
                  <a:pt x="3485355" y="0"/>
                </a:lnTo>
                <a:cubicBezTo>
                  <a:pt x="3577853" y="0"/>
                  <a:pt x="3652838" y="74985"/>
                  <a:pt x="3652838" y="167483"/>
                </a:cubicBezTo>
                <a:lnTo>
                  <a:pt x="3652838" y="517226"/>
                </a:lnTo>
                <a:cubicBezTo>
                  <a:pt x="3652838" y="659776"/>
                  <a:pt x="3745710" y="746167"/>
                  <a:pt x="3912021" y="791524"/>
                </a:cubicBezTo>
                <a:cubicBezTo>
                  <a:pt x="3918501" y="793683"/>
                  <a:pt x="3918501" y="800164"/>
                  <a:pt x="3912021" y="802323"/>
                </a:cubicBezTo>
                <a:cubicBezTo>
                  <a:pt x="3745710" y="847679"/>
                  <a:pt x="3652838" y="934073"/>
                  <a:pt x="3652838" y="1076623"/>
                </a:cubicBezTo>
                <a:lnTo>
                  <a:pt x="3652838" y="4310321"/>
                </a:lnTo>
                <a:cubicBezTo>
                  <a:pt x="3652838" y="4402819"/>
                  <a:pt x="3577853" y="4477804"/>
                  <a:pt x="3485355" y="4477804"/>
                </a:cubicBezTo>
                <a:lnTo>
                  <a:pt x="167483" y="4477804"/>
                </a:lnTo>
                <a:cubicBezTo>
                  <a:pt x="74985" y="4477804"/>
                  <a:pt x="0" y="4402819"/>
                  <a:pt x="0" y="4310321"/>
                </a:cubicBezTo>
                <a:lnTo>
                  <a:pt x="0" y="167483"/>
                </a:lnTo>
                <a:cubicBezTo>
                  <a:pt x="0" y="74985"/>
                  <a:pt x="74985" y="0"/>
                  <a:pt x="167483" y="0"/>
                </a:cubicBezTo>
                <a:close/>
              </a:path>
            </a:pathLst>
          </a:custGeom>
          <a:solidFill>
            <a:srgbClr val="FDE0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0" bIns="0" rtlCol="0" anchor="ctr" anchorCtr="0">
            <a:noAutofit/>
          </a:bodyPr>
          <a:lstStyle/>
          <a:p>
            <a:pPr lvl="0" algn="ctr">
              <a:lnSpc>
                <a:spcPct val="100000"/>
              </a:lnSpc>
              <a:spcBef>
                <a:spcPct val="0"/>
              </a:spcBef>
              <a:buNone/>
            </a:pPr>
            <a:endParaRPr lang="en-GB" sz="3600" b="1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EB7859-7E7C-860C-504D-32940FC85D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083" y="1538019"/>
            <a:ext cx="3662880" cy="4321711"/>
          </a:xfrm>
          <a:solidFill>
            <a:schemeClr val="tx2">
              <a:lumMod val="20000"/>
              <a:lumOff val="80000"/>
              <a:alpha val="40000"/>
            </a:schemeClr>
          </a:solidFill>
        </p:spPr>
        <p:txBody>
          <a:bodyPr lIns="252000" tIns="234000" rIns="0" bIns="18000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868B924F-E18F-F734-05A2-4D1DF958D7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0" name="Title 29">
            <a:extLst>
              <a:ext uri="{FF2B5EF4-FFF2-40B4-BE49-F238E27FC236}">
                <a16:creationId xmlns:a16="http://schemas.microsoft.com/office/drawing/2014/main" id="{5742DA4A-E607-ED9A-311C-33A7161F2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375200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76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630870D-CC68-6C35-76B7-CA96AF1130A9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936625"/>
          </a:xfrm>
          <a:prstGeom prst="roundRect">
            <a:avLst>
              <a:gd name="adj" fmla="val 24804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>
              <a:solidFill>
                <a:schemeClr val="tx1"/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84D842E7-3825-7B74-FB40-33701DC7188D}"/>
              </a:ext>
            </a:extLst>
          </p:cNvPr>
          <p:cNvSpPr/>
          <p:nvPr userDrawn="1"/>
        </p:nvSpPr>
        <p:spPr bwMode="auto">
          <a:xfrm>
            <a:off x="365125" y="1427321"/>
            <a:ext cx="5602288" cy="4649787"/>
          </a:xfrm>
          <a:prstGeom prst="round2SameRect">
            <a:avLst>
              <a:gd name="adj1" fmla="val 0"/>
              <a:gd name="adj2" fmla="val 526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DD63738-13F3-CD96-995A-A4889EB1B91A}"/>
              </a:ext>
            </a:extLst>
          </p:cNvPr>
          <p:cNvSpPr/>
          <p:nvPr userDrawn="1"/>
        </p:nvSpPr>
        <p:spPr bwMode="auto">
          <a:xfrm>
            <a:off x="6222293" y="1427321"/>
            <a:ext cx="5602996" cy="4649787"/>
          </a:xfrm>
          <a:custGeom>
            <a:avLst/>
            <a:gdLst>
              <a:gd name="connsiteX0" fmla="*/ 0 w 5602288"/>
              <a:gd name="connsiteY0" fmla="*/ 308234 h 4649787"/>
              <a:gd name="connsiteX1" fmla="*/ 308234 w 5602288"/>
              <a:gd name="connsiteY1" fmla="*/ 0 h 4649787"/>
              <a:gd name="connsiteX2" fmla="*/ 5294054 w 5602288"/>
              <a:gd name="connsiteY2" fmla="*/ 0 h 4649787"/>
              <a:gd name="connsiteX3" fmla="*/ 5602288 w 5602288"/>
              <a:gd name="connsiteY3" fmla="*/ 308234 h 4649787"/>
              <a:gd name="connsiteX4" fmla="*/ 5602288 w 5602288"/>
              <a:gd name="connsiteY4" fmla="*/ 4341553 h 4649787"/>
              <a:gd name="connsiteX5" fmla="*/ 5294054 w 5602288"/>
              <a:gd name="connsiteY5" fmla="*/ 4649787 h 4649787"/>
              <a:gd name="connsiteX6" fmla="*/ 308234 w 5602288"/>
              <a:gd name="connsiteY6" fmla="*/ 4649787 h 4649787"/>
              <a:gd name="connsiteX7" fmla="*/ 0 w 5602288"/>
              <a:gd name="connsiteY7" fmla="*/ 4341553 h 4649787"/>
              <a:gd name="connsiteX8" fmla="*/ 0 w 5602288"/>
              <a:gd name="connsiteY8" fmla="*/ 308234 h 4649787"/>
              <a:gd name="connsiteX0" fmla="*/ 128618 w 5730906"/>
              <a:gd name="connsiteY0" fmla="*/ 372026 h 4713579"/>
              <a:gd name="connsiteX1" fmla="*/ 218985 w 5730906"/>
              <a:gd name="connsiteY1" fmla="*/ 144806 h 4713579"/>
              <a:gd name="connsiteX2" fmla="*/ 436852 w 5730906"/>
              <a:gd name="connsiteY2" fmla="*/ 63792 h 4713579"/>
              <a:gd name="connsiteX3" fmla="*/ 5422672 w 5730906"/>
              <a:gd name="connsiteY3" fmla="*/ 63792 h 4713579"/>
              <a:gd name="connsiteX4" fmla="*/ 5730906 w 5730906"/>
              <a:gd name="connsiteY4" fmla="*/ 372026 h 4713579"/>
              <a:gd name="connsiteX5" fmla="*/ 5730906 w 5730906"/>
              <a:gd name="connsiteY5" fmla="*/ 4405345 h 4713579"/>
              <a:gd name="connsiteX6" fmla="*/ 5422672 w 5730906"/>
              <a:gd name="connsiteY6" fmla="*/ 4713579 h 4713579"/>
              <a:gd name="connsiteX7" fmla="*/ 436852 w 5730906"/>
              <a:gd name="connsiteY7" fmla="*/ 4713579 h 4713579"/>
              <a:gd name="connsiteX8" fmla="*/ 128618 w 5730906"/>
              <a:gd name="connsiteY8" fmla="*/ 4405345 h 4713579"/>
              <a:gd name="connsiteX9" fmla="*/ 128618 w 5730906"/>
              <a:gd name="connsiteY9" fmla="*/ 372026 h 4713579"/>
              <a:gd name="connsiteX0" fmla="*/ 128618 w 5730906"/>
              <a:gd name="connsiteY0" fmla="*/ 372026 h 4713579"/>
              <a:gd name="connsiteX1" fmla="*/ 218985 w 5730906"/>
              <a:gd name="connsiteY1" fmla="*/ 144806 h 4713579"/>
              <a:gd name="connsiteX2" fmla="*/ 436852 w 5730906"/>
              <a:gd name="connsiteY2" fmla="*/ 63792 h 4713579"/>
              <a:gd name="connsiteX3" fmla="*/ 5422672 w 5730906"/>
              <a:gd name="connsiteY3" fmla="*/ 63792 h 4713579"/>
              <a:gd name="connsiteX4" fmla="*/ 5730906 w 5730906"/>
              <a:gd name="connsiteY4" fmla="*/ 372026 h 4713579"/>
              <a:gd name="connsiteX5" fmla="*/ 5730906 w 5730906"/>
              <a:gd name="connsiteY5" fmla="*/ 4405345 h 4713579"/>
              <a:gd name="connsiteX6" fmla="*/ 5422672 w 5730906"/>
              <a:gd name="connsiteY6" fmla="*/ 4713579 h 4713579"/>
              <a:gd name="connsiteX7" fmla="*/ 436852 w 5730906"/>
              <a:gd name="connsiteY7" fmla="*/ 4713579 h 4713579"/>
              <a:gd name="connsiteX8" fmla="*/ 128618 w 5730906"/>
              <a:gd name="connsiteY8" fmla="*/ 4405345 h 4713579"/>
              <a:gd name="connsiteX9" fmla="*/ 128618 w 5730906"/>
              <a:gd name="connsiteY9" fmla="*/ 372026 h 4713579"/>
              <a:gd name="connsiteX0" fmla="*/ 157160 w 5759448"/>
              <a:gd name="connsiteY0" fmla="*/ 398923 h 4740476"/>
              <a:gd name="connsiteX1" fmla="*/ 167381 w 5759448"/>
              <a:gd name="connsiteY1" fmla="*/ 102485 h 4740476"/>
              <a:gd name="connsiteX2" fmla="*/ 465394 w 5759448"/>
              <a:gd name="connsiteY2" fmla="*/ 90689 h 4740476"/>
              <a:gd name="connsiteX3" fmla="*/ 5451214 w 5759448"/>
              <a:gd name="connsiteY3" fmla="*/ 90689 h 4740476"/>
              <a:gd name="connsiteX4" fmla="*/ 5759448 w 5759448"/>
              <a:gd name="connsiteY4" fmla="*/ 398923 h 4740476"/>
              <a:gd name="connsiteX5" fmla="*/ 5759448 w 5759448"/>
              <a:gd name="connsiteY5" fmla="*/ 4432242 h 4740476"/>
              <a:gd name="connsiteX6" fmla="*/ 5451214 w 5759448"/>
              <a:gd name="connsiteY6" fmla="*/ 4740476 h 4740476"/>
              <a:gd name="connsiteX7" fmla="*/ 465394 w 5759448"/>
              <a:gd name="connsiteY7" fmla="*/ 4740476 h 4740476"/>
              <a:gd name="connsiteX8" fmla="*/ 157160 w 5759448"/>
              <a:gd name="connsiteY8" fmla="*/ 4432242 h 4740476"/>
              <a:gd name="connsiteX9" fmla="*/ 157160 w 5759448"/>
              <a:gd name="connsiteY9" fmla="*/ 398923 h 4740476"/>
              <a:gd name="connsiteX0" fmla="*/ 137655 w 5739943"/>
              <a:gd name="connsiteY0" fmla="*/ 398923 h 4740476"/>
              <a:gd name="connsiteX1" fmla="*/ 147876 w 5739943"/>
              <a:gd name="connsiteY1" fmla="*/ 102485 h 4740476"/>
              <a:gd name="connsiteX2" fmla="*/ 445889 w 5739943"/>
              <a:gd name="connsiteY2" fmla="*/ 90689 h 4740476"/>
              <a:gd name="connsiteX3" fmla="*/ 5431709 w 5739943"/>
              <a:gd name="connsiteY3" fmla="*/ 90689 h 4740476"/>
              <a:gd name="connsiteX4" fmla="*/ 5739943 w 5739943"/>
              <a:gd name="connsiteY4" fmla="*/ 398923 h 4740476"/>
              <a:gd name="connsiteX5" fmla="*/ 5739943 w 5739943"/>
              <a:gd name="connsiteY5" fmla="*/ 4432242 h 4740476"/>
              <a:gd name="connsiteX6" fmla="*/ 5431709 w 5739943"/>
              <a:gd name="connsiteY6" fmla="*/ 4740476 h 4740476"/>
              <a:gd name="connsiteX7" fmla="*/ 445889 w 5739943"/>
              <a:gd name="connsiteY7" fmla="*/ 4740476 h 4740476"/>
              <a:gd name="connsiteX8" fmla="*/ 137655 w 5739943"/>
              <a:gd name="connsiteY8" fmla="*/ 4432242 h 4740476"/>
              <a:gd name="connsiteX9" fmla="*/ 137655 w 5739943"/>
              <a:gd name="connsiteY9" fmla="*/ 398923 h 4740476"/>
              <a:gd name="connsiteX0" fmla="*/ 137655 w 5739943"/>
              <a:gd name="connsiteY0" fmla="*/ 392985 h 4734538"/>
              <a:gd name="connsiteX1" fmla="*/ 147876 w 5739943"/>
              <a:gd name="connsiteY1" fmla="*/ 96547 h 4734538"/>
              <a:gd name="connsiteX2" fmla="*/ 445889 w 5739943"/>
              <a:gd name="connsiteY2" fmla="*/ 84751 h 4734538"/>
              <a:gd name="connsiteX3" fmla="*/ 5431709 w 5739943"/>
              <a:gd name="connsiteY3" fmla="*/ 84751 h 4734538"/>
              <a:gd name="connsiteX4" fmla="*/ 5739943 w 5739943"/>
              <a:gd name="connsiteY4" fmla="*/ 392985 h 4734538"/>
              <a:gd name="connsiteX5" fmla="*/ 5739943 w 5739943"/>
              <a:gd name="connsiteY5" fmla="*/ 4426304 h 4734538"/>
              <a:gd name="connsiteX6" fmla="*/ 5431709 w 5739943"/>
              <a:gd name="connsiteY6" fmla="*/ 4734538 h 4734538"/>
              <a:gd name="connsiteX7" fmla="*/ 445889 w 5739943"/>
              <a:gd name="connsiteY7" fmla="*/ 4734538 h 4734538"/>
              <a:gd name="connsiteX8" fmla="*/ 137655 w 5739943"/>
              <a:gd name="connsiteY8" fmla="*/ 4426304 h 4734538"/>
              <a:gd name="connsiteX9" fmla="*/ 137655 w 5739943"/>
              <a:gd name="connsiteY9" fmla="*/ 392985 h 4734538"/>
              <a:gd name="connsiteX0" fmla="*/ 137655 w 5739943"/>
              <a:gd name="connsiteY0" fmla="*/ 308234 h 4649787"/>
              <a:gd name="connsiteX1" fmla="*/ 147876 w 5739943"/>
              <a:gd name="connsiteY1" fmla="*/ 11796 h 4649787"/>
              <a:gd name="connsiteX2" fmla="*/ 445889 w 5739943"/>
              <a:gd name="connsiteY2" fmla="*/ 0 h 4649787"/>
              <a:gd name="connsiteX3" fmla="*/ 5431709 w 5739943"/>
              <a:gd name="connsiteY3" fmla="*/ 0 h 4649787"/>
              <a:gd name="connsiteX4" fmla="*/ 5739943 w 5739943"/>
              <a:gd name="connsiteY4" fmla="*/ 308234 h 4649787"/>
              <a:gd name="connsiteX5" fmla="*/ 5739943 w 5739943"/>
              <a:gd name="connsiteY5" fmla="*/ 4341553 h 4649787"/>
              <a:gd name="connsiteX6" fmla="*/ 5431709 w 5739943"/>
              <a:gd name="connsiteY6" fmla="*/ 4649787 h 4649787"/>
              <a:gd name="connsiteX7" fmla="*/ 445889 w 5739943"/>
              <a:gd name="connsiteY7" fmla="*/ 4649787 h 4649787"/>
              <a:gd name="connsiteX8" fmla="*/ 137655 w 5739943"/>
              <a:gd name="connsiteY8" fmla="*/ 4341553 h 4649787"/>
              <a:gd name="connsiteX9" fmla="*/ 137655 w 5739943"/>
              <a:gd name="connsiteY9" fmla="*/ 308234 h 4649787"/>
              <a:gd name="connsiteX0" fmla="*/ 0 w 5602288"/>
              <a:gd name="connsiteY0" fmla="*/ 308234 h 4649787"/>
              <a:gd name="connsiteX1" fmla="*/ 10221 w 5602288"/>
              <a:gd name="connsiteY1" fmla="*/ 11796 h 4649787"/>
              <a:gd name="connsiteX2" fmla="*/ 308234 w 5602288"/>
              <a:gd name="connsiteY2" fmla="*/ 0 h 4649787"/>
              <a:gd name="connsiteX3" fmla="*/ 5294054 w 5602288"/>
              <a:gd name="connsiteY3" fmla="*/ 0 h 4649787"/>
              <a:gd name="connsiteX4" fmla="*/ 5602288 w 5602288"/>
              <a:gd name="connsiteY4" fmla="*/ 308234 h 4649787"/>
              <a:gd name="connsiteX5" fmla="*/ 5602288 w 5602288"/>
              <a:gd name="connsiteY5" fmla="*/ 4341553 h 4649787"/>
              <a:gd name="connsiteX6" fmla="*/ 5294054 w 5602288"/>
              <a:gd name="connsiteY6" fmla="*/ 4649787 h 4649787"/>
              <a:gd name="connsiteX7" fmla="*/ 308234 w 5602288"/>
              <a:gd name="connsiteY7" fmla="*/ 4649787 h 4649787"/>
              <a:gd name="connsiteX8" fmla="*/ 0 w 5602288"/>
              <a:gd name="connsiteY8" fmla="*/ 4341553 h 4649787"/>
              <a:gd name="connsiteX9" fmla="*/ 0 w 5602288"/>
              <a:gd name="connsiteY9" fmla="*/ 308234 h 4649787"/>
              <a:gd name="connsiteX0" fmla="*/ 3839 w 5606127"/>
              <a:gd name="connsiteY0" fmla="*/ 308234 h 4649787"/>
              <a:gd name="connsiteX1" fmla="*/ 3131 w 5606127"/>
              <a:gd name="connsiteY1" fmla="*/ 8153 h 4649787"/>
              <a:gd name="connsiteX2" fmla="*/ 312073 w 5606127"/>
              <a:gd name="connsiteY2" fmla="*/ 0 h 4649787"/>
              <a:gd name="connsiteX3" fmla="*/ 5297893 w 5606127"/>
              <a:gd name="connsiteY3" fmla="*/ 0 h 4649787"/>
              <a:gd name="connsiteX4" fmla="*/ 5606127 w 5606127"/>
              <a:gd name="connsiteY4" fmla="*/ 308234 h 4649787"/>
              <a:gd name="connsiteX5" fmla="*/ 5606127 w 5606127"/>
              <a:gd name="connsiteY5" fmla="*/ 4341553 h 4649787"/>
              <a:gd name="connsiteX6" fmla="*/ 5297893 w 5606127"/>
              <a:gd name="connsiteY6" fmla="*/ 4649787 h 4649787"/>
              <a:gd name="connsiteX7" fmla="*/ 312073 w 5606127"/>
              <a:gd name="connsiteY7" fmla="*/ 4649787 h 4649787"/>
              <a:gd name="connsiteX8" fmla="*/ 3839 w 5606127"/>
              <a:gd name="connsiteY8" fmla="*/ 4341553 h 4649787"/>
              <a:gd name="connsiteX9" fmla="*/ 3839 w 5606127"/>
              <a:gd name="connsiteY9" fmla="*/ 308234 h 4649787"/>
              <a:gd name="connsiteX0" fmla="*/ 3839 w 5606127"/>
              <a:gd name="connsiteY0" fmla="*/ 308234 h 4649787"/>
              <a:gd name="connsiteX1" fmla="*/ 3131 w 5606127"/>
              <a:gd name="connsiteY1" fmla="*/ 8153 h 4649787"/>
              <a:gd name="connsiteX2" fmla="*/ 312073 w 5606127"/>
              <a:gd name="connsiteY2" fmla="*/ 0 h 4649787"/>
              <a:gd name="connsiteX3" fmla="*/ 5297893 w 5606127"/>
              <a:gd name="connsiteY3" fmla="*/ 0 h 4649787"/>
              <a:gd name="connsiteX4" fmla="*/ 5606127 w 5606127"/>
              <a:gd name="connsiteY4" fmla="*/ 308234 h 4649787"/>
              <a:gd name="connsiteX5" fmla="*/ 5606127 w 5606127"/>
              <a:gd name="connsiteY5" fmla="*/ 4341553 h 4649787"/>
              <a:gd name="connsiteX6" fmla="*/ 5297893 w 5606127"/>
              <a:gd name="connsiteY6" fmla="*/ 4649787 h 4649787"/>
              <a:gd name="connsiteX7" fmla="*/ 312073 w 5606127"/>
              <a:gd name="connsiteY7" fmla="*/ 4649787 h 4649787"/>
              <a:gd name="connsiteX8" fmla="*/ 3839 w 5606127"/>
              <a:gd name="connsiteY8" fmla="*/ 4341553 h 4649787"/>
              <a:gd name="connsiteX9" fmla="*/ 3839 w 5606127"/>
              <a:gd name="connsiteY9" fmla="*/ 308234 h 4649787"/>
              <a:gd name="connsiteX0" fmla="*/ 2237 w 5604525"/>
              <a:gd name="connsiteY0" fmla="*/ 308234 h 4649787"/>
              <a:gd name="connsiteX1" fmla="*/ 1529 w 5604525"/>
              <a:gd name="connsiteY1" fmla="*/ 8153 h 4649787"/>
              <a:gd name="connsiteX2" fmla="*/ 310471 w 5604525"/>
              <a:gd name="connsiteY2" fmla="*/ 0 h 4649787"/>
              <a:gd name="connsiteX3" fmla="*/ 5296291 w 5604525"/>
              <a:gd name="connsiteY3" fmla="*/ 0 h 4649787"/>
              <a:gd name="connsiteX4" fmla="*/ 5604525 w 5604525"/>
              <a:gd name="connsiteY4" fmla="*/ 308234 h 4649787"/>
              <a:gd name="connsiteX5" fmla="*/ 5604525 w 5604525"/>
              <a:gd name="connsiteY5" fmla="*/ 4341553 h 4649787"/>
              <a:gd name="connsiteX6" fmla="*/ 5296291 w 5604525"/>
              <a:gd name="connsiteY6" fmla="*/ 4649787 h 4649787"/>
              <a:gd name="connsiteX7" fmla="*/ 310471 w 5604525"/>
              <a:gd name="connsiteY7" fmla="*/ 4649787 h 4649787"/>
              <a:gd name="connsiteX8" fmla="*/ 2237 w 5604525"/>
              <a:gd name="connsiteY8" fmla="*/ 4341553 h 4649787"/>
              <a:gd name="connsiteX9" fmla="*/ 2237 w 5604525"/>
              <a:gd name="connsiteY9" fmla="*/ 308234 h 4649787"/>
              <a:gd name="connsiteX0" fmla="*/ 708 w 5602996"/>
              <a:gd name="connsiteY0" fmla="*/ 308234 h 4649787"/>
              <a:gd name="connsiteX1" fmla="*/ 0 w 5602996"/>
              <a:gd name="connsiteY1" fmla="*/ 8153 h 4649787"/>
              <a:gd name="connsiteX2" fmla="*/ 308942 w 5602996"/>
              <a:gd name="connsiteY2" fmla="*/ 0 h 4649787"/>
              <a:gd name="connsiteX3" fmla="*/ 5294762 w 5602996"/>
              <a:gd name="connsiteY3" fmla="*/ 0 h 4649787"/>
              <a:gd name="connsiteX4" fmla="*/ 5602996 w 5602996"/>
              <a:gd name="connsiteY4" fmla="*/ 308234 h 4649787"/>
              <a:gd name="connsiteX5" fmla="*/ 5602996 w 5602996"/>
              <a:gd name="connsiteY5" fmla="*/ 4341553 h 4649787"/>
              <a:gd name="connsiteX6" fmla="*/ 5294762 w 5602996"/>
              <a:gd name="connsiteY6" fmla="*/ 4649787 h 4649787"/>
              <a:gd name="connsiteX7" fmla="*/ 308942 w 5602996"/>
              <a:gd name="connsiteY7" fmla="*/ 4649787 h 4649787"/>
              <a:gd name="connsiteX8" fmla="*/ 708 w 5602996"/>
              <a:gd name="connsiteY8" fmla="*/ 4341553 h 4649787"/>
              <a:gd name="connsiteX9" fmla="*/ 708 w 5602996"/>
              <a:gd name="connsiteY9" fmla="*/ 308234 h 4649787"/>
              <a:gd name="connsiteX0" fmla="*/ 708 w 5602996"/>
              <a:gd name="connsiteY0" fmla="*/ 308234 h 4649787"/>
              <a:gd name="connsiteX1" fmla="*/ 0 w 5602996"/>
              <a:gd name="connsiteY1" fmla="*/ 8153 h 4649787"/>
              <a:gd name="connsiteX2" fmla="*/ 308942 w 5602996"/>
              <a:gd name="connsiteY2" fmla="*/ 0 h 4649787"/>
              <a:gd name="connsiteX3" fmla="*/ 5294762 w 5602996"/>
              <a:gd name="connsiteY3" fmla="*/ 0 h 4649787"/>
              <a:gd name="connsiteX4" fmla="*/ 5602996 w 5602996"/>
              <a:gd name="connsiteY4" fmla="*/ 308234 h 4649787"/>
              <a:gd name="connsiteX5" fmla="*/ 5602996 w 5602996"/>
              <a:gd name="connsiteY5" fmla="*/ 4341553 h 4649787"/>
              <a:gd name="connsiteX6" fmla="*/ 5294762 w 5602996"/>
              <a:gd name="connsiteY6" fmla="*/ 4649787 h 4649787"/>
              <a:gd name="connsiteX7" fmla="*/ 308942 w 5602996"/>
              <a:gd name="connsiteY7" fmla="*/ 4649787 h 4649787"/>
              <a:gd name="connsiteX8" fmla="*/ 708 w 5602996"/>
              <a:gd name="connsiteY8" fmla="*/ 4341553 h 4649787"/>
              <a:gd name="connsiteX9" fmla="*/ 708 w 5602996"/>
              <a:gd name="connsiteY9" fmla="*/ 308234 h 4649787"/>
              <a:gd name="connsiteX0" fmla="*/ 708 w 5602996"/>
              <a:gd name="connsiteY0" fmla="*/ 310029 h 4651582"/>
              <a:gd name="connsiteX1" fmla="*/ 0 w 5602996"/>
              <a:gd name="connsiteY1" fmla="*/ 9948 h 4651582"/>
              <a:gd name="connsiteX2" fmla="*/ 308942 w 5602996"/>
              <a:gd name="connsiteY2" fmla="*/ 1795 h 4651582"/>
              <a:gd name="connsiteX3" fmla="*/ 5294762 w 5602996"/>
              <a:gd name="connsiteY3" fmla="*/ 1795 h 4651582"/>
              <a:gd name="connsiteX4" fmla="*/ 5602996 w 5602996"/>
              <a:gd name="connsiteY4" fmla="*/ 310029 h 4651582"/>
              <a:gd name="connsiteX5" fmla="*/ 5602996 w 5602996"/>
              <a:gd name="connsiteY5" fmla="*/ 4343348 h 4651582"/>
              <a:gd name="connsiteX6" fmla="*/ 5294762 w 5602996"/>
              <a:gd name="connsiteY6" fmla="*/ 4651582 h 4651582"/>
              <a:gd name="connsiteX7" fmla="*/ 308942 w 5602996"/>
              <a:gd name="connsiteY7" fmla="*/ 4651582 h 4651582"/>
              <a:gd name="connsiteX8" fmla="*/ 708 w 5602996"/>
              <a:gd name="connsiteY8" fmla="*/ 4343348 h 4651582"/>
              <a:gd name="connsiteX9" fmla="*/ 708 w 5602996"/>
              <a:gd name="connsiteY9" fmla="*/ 310029 h 4651582"/>
              <a:gd name="connsiteX0" fmla="*/ 708 w 5602996"/>
              <a:gd name="connsiteY0" fmla="*/ 308234 h 4649787"/>
              <a:gd name="connsiteX1" fmla="*/ 0 w 5602996"/>
              <a:gd name="connsiteY1" fmla="*/ 8153 h 4649787"/>
              <a:gd name="connsiteX2" fmla="*/ 308942 w 5602996"/>
              <a:gd name="connsiteY2" fmla="*/ 0 h 4649787"/>
              <a:gd name="connsiteX3" fmla="*/ 5294762 w 5602996"/>
              <a:gd name="connsiteY3" fmla="*/ 0 h 4649787"/>
              <a:gd name="connsiteX4" fmla="*/ 5602996 w 5602996"/>
              <a:gd name="connsiteY4" fmla="*/ 308234 h 4649787"/>
              <a:gd name="connsiteX5" fmla="*/ 5602996 w 5602996"/>
              <a:gd name="connsiteY5" fmla="*/ 4341553 h 4649787"/>
              <a:gd name="connsiteX6" fmla="*/ 5294762 w 5602996"/>
              <a:gd name="connsiteY6" fmla="*/ 4649787 h 4649787"/>
              <a:gd name="connsiteX7" fmla="*/ 308942 w 5602996"/>
              <a:gd name="connsiteY7" fmla="*/ 4649787 h 4649787"/>
              <a:gd name="connsiteX8" fmla="*/ 708 w 5602996"/>
              <a:gd name="connsiteY8" fmla="*/ 4341553 h 4649787"/>
              <a:gd name="connsiteX9" fmla="*/ 708 w 5602996"/>
              <a:gd name="connsiteY9" fmla="*/ 308234 h 464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02996" h="4649787">
                <a:moveTo>
                  <a:pt x="708" y="308234"/>
                </a:moveTo>
                <a:cubicBezTo>
                  <a:pt x="1197" y="151884"/>
                  <a:pt x="6917" y="85026"/>
                  <a:pt x="0" y="8153"/>
                </a:cubicBezTo>
                <a:cubicBezTo>
                  <a:pt x="116947" y="497"/>
                  <a:pt x="195768" y="6216"/>
                  <a:pt x="308942" y="0"/>
                </a:cubicBezTo>
                <a:lnTo>
                  <a:pt x="5294762" y="0"/>
                </a:lnTo>
                <a:cubicBezTo>
                  <a:pt x="5464995" y="0"/>
                  <a:pt x="5602996" y="138001"/>
                  <a:pt x="5602996" y="308234"/>
                </a:cubicBezTo>
                <a:lnTo>
                  <a:pt x="5602996" y="4341553"/>
                </a:lnTo>
                <a:cubicBezTo>
                  <a:pt x="5602996" y="4511786"/>
                  <a:pt x="5464995" y="4649787"/>
                  <a:pt x="5294762" y="4649787"/>
                </a:cubicBezTo>
                <a:lnTo>
                  <a:pt x="308942" y="4649787"/>
                </a:lnTo>
                <a:cubicBezTo>
                  <a:pt x="138709" y="4649787"/>
                  <a:pt x="708" y="4511786"/>
                  <a:pt x="708" y="4341553"/>
                </a:cubicBezTo>
                <a:lnTo>
                  <a:pt x="708" y="30823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427322"/>
            <a:ext cx="5602288" cy="4488605"/>
          </a:xfrm>
          <a:prstGeom prst="roundRect">
            <a:avLst>
              <a:gd name="adj" fmla="val 4253"/>
            </a:avLst>
          </a:prstGeom>
          <a:noFill/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white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427322"/>
            <a:ext cx="5601600" cy="4488605"/>
          </a:xfrm>
          <a:prstGeom prst="roundRect">
            <a:avLst>
              <a:gd name="adj" fmla="val 3915"/>
            </a:avLst>
          </a:prstGeom>
          <a:noFill/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white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390426-9D2D-4F00-A428-511448A9836C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578522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578522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946E49C-80E4-2763-D682-2EE49EACBD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E554B9A-A44A-AC0A-E312-0AA92FFA2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37194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52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74A5472-B358-0F8E-48D6-A8A6143F1C56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/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42D3BA-5EF1-4DB6-ACB2-E19A79A4A64E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87C6581-164A-506F-8045-6665667514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1E66-3AA8-0315-1221-04982C0F7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406197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823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365126" y="590549"/>
            <a:ext cx="11460162" cy="5500689"/>
          </a:xfrm>
          <a:prstGeom prst="roundRect">
            <a:avLst>
              <a:gd name="adj" fmla="val 2727"/>
            </a:avLst>
          </a:prstGeom>
          <a:solidFill>
            <a:schemeClr val="bg1"/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FAF02A2-2096-769A-B4A4-65BC046B9B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42029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/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787137"/>
          </a:xfrm>
          <a:prstGeom prst="roundRect">
            <a:avLst>
              <a:gd name="adj" fmla="val 6313"/>
            </a:avLst>
          </a:prstGeom>
          <a:solidFill>
            <a:schemeClr val="bg1"/>
          </a:solidFill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18087B-459D-4729-B449-CCF6702E8E13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41763A8-85C7-BD56-2F7C-2F78E31E74F8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6A66F95-3F94-A987-C5E0-3DB2D96E3A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BC3C52-34EC-8840-AD08-91A70A54B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68190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621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AFB533-57EF-4766-9D87-DAD3C67F4A40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  <a:prstGeom prst="roundRect">
            <a:avLst>
              <a:gd name="adj" fmla="val 5210"/>
            </a:avLst>
          </a:prstGeom>
          <a:solidFill>
            <a:schemeClr val="bg1"/>
          </a:solidFill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1011CA92-4008-7614-4DE6-674CA97014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4742CEE-6810-3519-B490-C50FFC30A7B6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558D317-B38F-E485-0DD9-238E60D0F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421695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49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D23D84C-7137-BB0E-7540-1BCCC6920E97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9739223" y="6343650"/>
            <a:ext cx="1209764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741D83-B006-4893-8541-66BA34E08C4B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  <a:prstGeom prst="roundRect">
            <a:avLst>
              <a:gd name="adj" fmla="val 5422"/>
            </a:avLst>
          </a:prstGeom>
          <a:solidFill>
            <a:schemeClr val="bg1"/>
          </a:solidFill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F072BFBB-BE70-5EB1-3005-1BE7F63BA56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1931FDD-6B45-F0F7-4E89-CA23AB9D0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390699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137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B2B180B-2C55-2881-CF8A-D1F00FD246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B7133B9-3315-9274-E26A-A698DB2B27EB}"/>
              </a:ext>
            </a:extLst>
          </p:cNvPr>
          <p:cNvSpPr/>
          <p:nvPr userDrawn="1"/>
        </p:nvSpPr>
        <p:spPr bwMode="auto">
          <a:xfrm>
            <a:off x="365125" y="1303338"/>
            <a:ext cx="11460163" cy="4489062"/>
          </a:xfrm>
          <a:prstGeom prst="roundRect">
            <a:avLst>
              <a:gd name="adj" fmla="val 6482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50B5A55-5952-3A43-4C3D-83B3F41228D7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4C6D0825-270D-3CA3-C3AE-813B29075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421695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339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AF44B5-6D56-4B59-9C1D-2022F9BFF5DA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7081B4C-D32C-E090-C7D3-FBAAFA418B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F55D6BF-140C-7517-00E1-E063CA058B72}"/>
              </a:ext>
            </a:extLst>
          </p:cNvPr>
          <p:cNvSpPr/>
          <p:nvPr userDrawn="1"/>
        </p:nvSpPr>
        <p:spPr bwMode="auto">
          <a:xfrm>
            <a:off x="365125" y="390525"/>
            <a:ext cx="11460163" cy="5401875"/>
          </a:xfrm>
          <a:prstGeom prst="roundRect">
            <a:avLst>
              <a:gd name="adj" fmla="val 595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43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BFCEE62-9579-4BB1-F6B2-50C976A6B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1D80B056-FF37-C56D-6C3D-DEF5C0BD8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8B93A397-C67E-CEF0-7FF8-B37A505F38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67FB8759-3956-0887-2045-D01FE40D6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15689D28-4785-A469-C250-0DFA47B0C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9B6D6C37-5E33-531C-E9D2-D0366C929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1497019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2100263"/>
            <a:ext cx="11460163" cy="2490787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800404"/>
            <a:ext cx="11460164" cy="4752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2B22C6-B116-D2FA-B69E-65CF72B35B7A}"/>
              </a:ext>
            </a:extLst>
          </p:cNvPr>
          <p:cNvGrpSpPr/>
          <p:nvPr userDrawn="1"/>
        </p:nvGrpSpPr>
        <p:grpSpPr>
          <a:xfrm rot="10800000" flipH="1" flipV="1">
            <a:off x="0" y="7938"/>
            <a:ext cx="5256621" cy="1351305"/>
            <a:chOff x="0" y="-7916"/>
            <a:chExt cx="18431747" cy="37730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72A52EF-1985-6A38-B17B-A3982693E5F2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1EEA7038-6B10-54F8-8654-A5C6B260F6DF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F19FE7C-C08C-4CDF-325E-506CE8EE1323}"/>
              </a:ext>
            </a:extLst>
          </p:cNvPr>
          <p:cNvGrpSpPr/>
          <p:nvPr userDrawn="1"/>
        </p:nvGrpSpPr>
        <p:grpSpPr>
          <a:xfrm flipH="1" flipV="1">
            <a:off x="5256621" y="5272500"/>
            <a:ext cx="6935379" cy="1637476"/>
            <a:chOff x="0" y="-7916"/>
            <a:chExt cx="18431747" cy="3773073"/>
          </a:xfrm>
        </p:grpSpPr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FDE9193-AA8B-98BC-1423-76C3240A790C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D7E9B154-6261-CEFC-F095-2A1E5F8B8D95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4248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</p:spTree>
    <p:extLst>
      <p:ext uri="{BB962C8B-B14F-4D97-AF65-F5344CB8AC3E}">
        <p14:creationId xmlns:p14="http://schemas.microsoft.com/office/powerpoint/2010/main" val="402056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0790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E19DE032-C14A-337E-B47D-C7030859F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εικόνας 2">
            <a:extLst>
              <a:ext uri="{FF2B5EF4-FFF2-40B4-BE49-F238E27FC236}">
                <a16:creationId xmlns:a16="http://schemas.microsoft.com/office/drawing/2014/main" id="{B102B1B5-5B74-85AB-CB01-DDEA024EF7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BE74C778-5CAD-3FD4-C2D1-F9AE28D16B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00DBC61F-F6C9-1A45-DEF3-D6FC2C977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2F2A2A20-A12B-E41A-A994-2BCEC86A8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6B81DB4E-9842-65E8-EB2B-0ECA74260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96338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67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image" Target="../media/image1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>
            <a:extLst>
              <a:ext uri="{FF2B5EF4-FFF2-40B4-BE49-F238E27FC236}">
                <a16:creationId xmlns:a16="http://schemas.microsoft.com/office/drawing/2014/main" id="{306AED06-5D5F-4B34-7FA1-15F585A14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DAA312BC-BBAD-30DC-CCCF-E1CABDA7D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E2E2E38D-0624-D050-A19B-65B64460E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E01A6C1-4E33-4B60-88CC-0721C17B364B}" type="datetimeFigureOut">
              <a:rPr lang="el-GR" smtClean="0"/>
              <a:t>6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0B6A32E5-2538-A1E5-C46D-35A31727CA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5F55E221-7DE4-5D3C-3A06-E2B477356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03792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7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EB3B6D-B8AE-4726-B830-C447FAD3394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182462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328">
          <p15:clr>
            <a:srgbClr val="F26B43"/>
          </p15:clr>
        </p15:guide>
        <p15:guide id="3" pos="452">
          <p15:clr>
            <a:srgbClr val="F26B43"/>
          </p15:clr>
        </p15:guide>
        <p15:guide id="4" pos="7231">
          <p15:clr>
            <a:srgbClr val="F26B43"/>
          </p15:clr>
        </p15:guide>
        <p15:guide id="5" pos="7417">
          <p15:clr>
            <a:srgbClr val="F26B43"/>
          </p15:clr>
        </p15:guide>
        <p15:guide id="6" orient="horz" pos="1008">
          <p15:clr>
            <a:srgbClr val="F26B43"/>
          </p15:clr>
        </p15:guide>
        <p15:guide id="7" orient="horz" pos="4147">
          <p15:clr>
            <a:srgbClr val="F26B43"/>
          </p15:clr>
        </p15:guide>
        <p15:guide id="8" orient="horz" pos="4032">
          <p15:clr>
            <a:srgbClr val="F26B43"/>
          </p15:clr>
        </p15:guide>
        <p15:guide id="9" orient="horz" pos="38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9275" y="114300"/>
            <a:ext cx="11367422" cy="986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5" y="1297295"/>
            <a:ext cx="11367422" cy="43513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662064" y="6511281"/>
            <a:ext cx="415636" cy="2308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fld id="{87CB84B5-1B86-4A9A-BB5F-F88E05C8058E}" type="slidenum">
              <a:rPr lang="en-US" sz="900" smtClean="0"/>
              <a:pPr algn="r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60618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2" r:id="rId9"/>
    <p:sldLayoutId id="2147483683" r:id="rId10"/>
    <p:sldLayoutId id="2147483684" r:id="rId11"/>
    <p:sldLayoutId id="2147483688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8" r:id="rId18"/>
  </p:sldLayoutIdLst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5000"/>
        </a:lnSpc>
        <a:spcBef>
          <a:spcPts val="400"/>
        </a:spcBef>
        <a:buClr>
          <a:schemeClr val="accent3">
            <a:lumMod val="75000"/>
          </a:schemeClr>
        </a:buClr>
        <a:buSzPct val="85000"/>
        <a:buFont typeface="Webdings" panose="05030102010509060703" pitchFamily="18" charset="2"/>
        <a:buChar char="4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5000"/>
        </a:lnSpc>
        <a:spcBef>
          <a:spcPts val="300"/>
        </a:spcBef>
        <a:buClr>
          <a:schemeClr val="accent6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5000"/>
        </a:lnSpc>
        <a:spcBef>
          <a:spcPts val="300"/>
        </a:spcBef>
        <a:buClr>
          <a:schemeClr val="accent6">
            <a:lumMod val="75000"/>
          </a:schemeClr>
        </a:buClr>
        <a:buSzPct val="85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3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72">
          <p15:clr>
            <a:srgbClr val="F26B43"/>
          </p15:clr>
        </p15:guide>
        <p15:guide id="4" orient="horz" pos="4247">
          <p15:clr>
            <a:srgbClr val="F26B43"/>
          </p15:clr>
        </p15:guide>
        <p15:guide id="5">
          <p15:clr>
            <a:srgbClr val="F26B43"/>
          </p15:clr>
        </p15:guide>
        <p15:guide id="6" pos="346">
          <p15:clr>
            <a:srgbClr val="F26B43"/>
          </p15:clr>
        </p15:guide>
        <p15:guide id="7" orient="horz" pos="811">
          <p15:clr>
            <a:srgbClr val="F26B43"/>
          </p15:clr>
        </p15:guide>
        <p15:guide id="8" pos="76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EB3B6D-B8AE-4726-B830-C447FAD3394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623454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452">
          <p15:clr>
            <a:srgbClr val="F26B43"/>
          </p15:clr>
        </p15:guide>
        <p15:guide id="3" orient="horz" pos="1008">
          <p15:clr>
            <a:srgbClr val="F26B43"/>
          </p15:clr>
        </p15:guide>
        <p15:guide id="4" orient="horz" pos="4128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4032">
          <p15:clr>
            <a:srgbClr val="F26B43"/>
          </p15:clr>
        </p15:guide>
        <p15:guide id="7" pos="312">
          <p15:clr>
            <a:srgbClr val="F26B43"/>
          </p15:clr>
        </p15:guide>
        <p15:guide id="8" pos="7248">
          <p15:clr>
            <a:srgbClr val="F26B43"/>
          </p15:clr>
        </p15:guide>
        <p15:guide id="9" pos="741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F52D92-A6CF-CF4F-92B9-42D0E80ABB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1" y="1612005"/>
            <a:ext cx="1082008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aa-ET" dirty="0"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6FCE8ED6-8779-B449-8602-99E3826D9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609600"/>
            <a:ext cx="10820083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lang="aa-E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029B29-757A-384D-9ABD-2A0FEF39F6FC}"/>
              </a:ext>
            </a:extLst>
          </p:cNvPr>
          <p:cNvCxnSpPr>
            <a:cxnSpLocks/>
          </p:cNvCxnSpPr>
          <p:nvPr userDrawn="1"/>
        </p:nvCxnSpPr>
        <p:spPr>
          <a:xfrm>
            <a:off x="533400" y="609602"/>
            <a:ext cx="0" cy="492443"/>
          </a:xfrm>
          <a:prstGeom prst="line">
            <a:avLst/>
          </a:prstGeom>
          <a:ln w="63500">
            <a:solidFill>
              <a:srgbClr val="0051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7">
            <a:extLst>
              <a:ext uri="{FF2B5EF4-FFF2-40B4-BE49-F238E27FC236}">
                <a16:creationId xmlns:a16="http://schemas.microsoft.com/office/drawing/2014/main" id="{211734A5-B41D-5048-BA68-635B6FC4C0DD}"/>
              </a:ext>
            </a:extLst>
          </p:cNvPr>
          <p:cNvSpPr/>
          <p:nvPr/>
        </p:nvSpPr>
        <p:spPr>
          <a:xfrm>
            <a:off x="5" y="6204340"/>
            <a:ext cx="12193271" cy="654050"/>
          </a:xfrm>
          <a:custGeom>
            <a:avLst/>
            <a:gdLst/>
            <a:ahLst/>
            <a:cxnLst/>
            <a:rect l="l" t="t" r="r" b="b"/>
            <a:pathLst>
              <a:path w="12193270" h="654050">
                <a:moveTo>
                  <a:pt x="12193193" y="0"/>
                </a:moveTo>
                <a:lnTo>
                  <a:pt x="221640" y="0"/>
                </a:lnTo>
                <a:lnTo>
                  <a:pt x="0" y="653656"/>
                </a:lnTo>
              </a:path>
            </a:pathLst>
          </a:custGeom>
          <a:ln w="12700">
            <a:solidFill>
              <a:srgbClr val="D9E5E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9173DE4-3D1A-A24E-9DA5-355A5466CEF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34" y="6324602"/>
            <a:ext cx="875968" cy="402871"/>
          </a:xfrm>
          <a:prstGeom prst="rect">
            <a:avLst/>
          </a:prstGeom>
        </p:spPr>
      </p:pic>
      <p:sp>
        <p:nvSpPr>
          <p:cNvPr id="10" name="object 6">
            <a:extLst>
              <a:ext uri="{FF2B5EF4-FFF2-40B4-BE49-F238E27FC236}">
                <a16:creationId xmlns:a16="http://schemas.microsoft.com/office/drawing/2014/main" id="{78E4929C-0042-C84F-8B07-A2BEC1394439}"/>
              </a:ext>
            </a:extLst>
          </p:cNvPr>
          <p:cNvSpPr/>
          <p:nvPr/>
        </p:nvSpPr>
        <p:spPr>
          <a:xfrm>
            <a:off x="9932816" y="6204343"/>
            <a:ext cx="2260600" cy="654050"/>
          </a:xfrm>
          <a:custGeom>
            <a:avLst/>
            <a:gdLst/>
            <a:ahLst/>
            <a:cxnLst/>
            <a:rect l="l" t="t" r="r" b="b"/>
            <a:pathLst>
              <a:path w="2260600" h="654050">
                <a:moveTo>
                  <a:pt x="2260384" y="0"/>
                </a:moveTo>
                <a:lnTo>
                  <a:pt x="221653" y="0"/>
                </a:lnTo>
                <a:lnTo>
                  <a:pt x="0" y="653656"/>
                </a:lnTo>
                <a:lnTo>
                  <a:pt x="2260384" y="653656"/>
                </a:lnTo>
                <a:lnTo>
                  <a:pt x="2260384" y="0"/>
                </a:lnTo>
                <a:close/>
              </a:path>
            </a:pathLst>
          </a:custGeom>
          <a:solidFill>
            <a:srgbClr val="8136CE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14DEA-DBE9-374D-AB29-784F069F24B6}"/>
              </a:ext>
            </a:extLst>
          </p:cNvPr>
          <p:cNvSpPr txBox="1"/>
          <p:nvPr userDrawn="1"/>
        </p:nvSpPr>
        <p:spPr>
          <a:xfrm>
            <a:off x="10210800" y="6327363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49183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5193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5193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5193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5193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5193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5193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a-E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5" imgH="424" progId="TCLayout.ActiveDocument.1">
                  <p:embed/>
                </p:oleObj>
              </mc:Choice>
              <mc:Fallback>
                <p:oleObj name="think-cell Slide" r:id="rId21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25" y="6581775"/>
            <a:ext cx="9454785" cy="2698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00152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366714"/>
            <a:ext cx="11460163" cy="722311"/>
          </a:xfrm>
          <a:prstGeom prst="rect">
            <a:avLst/>
          </a:prstGeom>
        </p:spPr>
        <p:txBody>
          <a:bodyPr vert="horz" lIns="72000" tIns="72000" rIns="0" bIns="0" rtlCol="0" anchor="t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871075" y="6343650"/>
            <a:ext cx="1077912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6 May 2025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8F23E97-D43B-08E0-602A-BE1D7C342802}"/>
              </a:ext>
            </a:extLst>
          </p:cNvPr>
          <p:cNvGrpSpPr/>
          <p:nvPr userDrawn="1"/>
        </p:nvGrpSpPr>
        <p:grpSpPr>
          <a:xfrm rot="10800000" flipH="1" flipV="1">
            <a:off x="0" y="-1"/>
            <a:ext cx="1922585" cy="491709"/>
            <a:chOff x="0" y="-7916"/>
            <a:chExt cx="18431747" cy="3773073"/>
          </a:xfrm>
        </p:grpSpPr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48DC2B47-D41A-7A2D-6C9B-1AC56A5F681F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6" name="Rectangle 3">
              <a:extLst>
                <a:ext uri="{FF2B5EF4-FFF2-40B4-BE49-F238E27FC236}">
                  <a16:creationId xmlns:a16="http://schemas.microsoft.com/office/drawing/2014/main" id="{4411BA55-39C6-FCC1-B57C-D995C0AB82E6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074B9C1-01D2-A323-28D1-60FB8BE1C837}"/>
              </a:ext>
            </a:extLst>
          </p:cNvPr>
          <p:cNvGrpSpPr/>
          <p:nvPr userDrawn="1"/>
        </p:nvGrpSpPr>
        <p:grpSpPr>
          <a:xfrm flipH="1" flipV="1">
            <a:off x="10125075" y="6374229"/>
            <a:ext cx="2065338" cy="491709"/>
            <a:chOff x="0" y="-7916"/>
            <a:chExt cx="18431747" cy="3773073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7E9C89CD-08D9-BF82-2113-A88BF0C5ED7B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BE946F7F-F051-73DE-9F7B-C9591BB15469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8576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▫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◦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56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872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088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6A6A6"/>
          </p15:clr>
        </p15:guide>
        <p15:guide id="2" pos="7680">
          <p15:clr>
            <a:srgbClr val="A6A6A6"/>
          </p15:clr>
        </p15:guide>
        <p15:guide id="3" pos="230">
          <p15:clr>
            <a:srgbClr val="A6A6A6"/>
          </p15:clr>
        </p15:guide>
        <p15:guide id="4" pos="1301">
          <p15:clr>
            <a:srgbClr val="A6A6A6"/>
          </p15:clr>
        </p15:guide>
        <p15:guide id="5" pos="1461">
          <p15:clr>
            <a:srgbClr val="A6A6A6"/>
          </p15:clr>
        </p15:guide>
        <p15:guide id="6" pos="2531">
          <p15:clr>
            <a:srgbClr val="A6A6A6"/>
          </p15:clr>
        </p15:guide>
        <p15:guide id="7" pos="2690">
          <p15:clr>
            <a:srgbClr val="A6A6A6"/>
          </p15:clr>
        </p15:guide>
        <p15:guide id="8" pos="3759">
          <p15:clr>
            <a:srgbClr val="A6A6A6"/>
          </p15:clr>
        </p15:guide>
        <p15:guide id="9" pos="3920">
          <p15:clr>
            <a:srgbClr val="A6A6A6"/>
          </p15:clr>
        </p15:guide>
        <p15:guide id="10" pos="4989">
          <p15:clr>
            <a:srgbClr val="A6A6A6"/>
          </p15:clr>
        </p15:guide>
        <p15:guide id="11" pos="5148">
          <p15:clr>
            <a:srgbClr val="A6A6A6"/>
          </p15:clr>
        </p15:guide>
        <p15:guide id="12" pos="6218">
          <p15:clr>
            <a:srgbClr val="A6A6A6"/>
          </p15:clr>
        </p15:guide>
        <p15:guide id="13" pos="6378">
          <p15:clr>
            <a:srgbClr val="A6A6A6"/>
          </p15:clr>
        </p15:guide>
        <p15:guide id="14" pos="7449">
          <p15:clr>
            <a:srgbClr val="A6A6A6"/>
          </p15:clr>
        </p15:guide>
        <p15:guide id="15" orient="horz" pos="5">
          <p15:clr>
            <a:srgbClr val="A6A6A6"/>
          </p15:clr>
        </p15:guide>
        <p15:guide id="16" orient="horz" pos="4315">
          <p15:clr>
            <a:srgbClr val="A6A6A6"/>
          </p15:clr>
        </p15:guide>
        <p15:guide id="17" orient="horz" pos="153">
          <p15:clr>
            <a:srgbClr val="A6A6A6"/>
          </p15:clr>
        </p15:guide>
        <p15:guide id="18" orient="horz" pos="686">
          <p15:clr>
            <a:srgbClr val="A6A6A6"/>
          </p15:clr>
        </p15:guide>
        <p15:guide id="19" orient="horz" pos="799">
          <p15:clr>
            <a:srgbClr val="A6A6A6"/>
          </p15:clr>
        </p15:guide>
        <p15:guide id="20" orient="horz" pos="1323">
          <p15:clr>
            <a:srgbClr val="A6A6A6"/>
          </p15:clr>
        </p15:guide>
        <p15:guide id="21" orient="horz" pos="2330">
          <p15:clr>
            <a:srgbClr val="A6A6A6"/>
          </p15:clr>
        </p15:guide>
        <p15:guide id="22" orient="horz" pos="3335">
          <p15:clr>
            <a:srgbClr val="A6A6A6"/>
          </p15:clr>
        </p15:guide>
        <p15:guide id="23" orient="horz" pos="3837">
          <p15:clr>
            <a:srgbClr val="A6A6A6"/>
          </p15:clr>
        </p15:guide>
        <p15:guide id="24" orient="horz" pos="4166">
          <p15:clr>
            <a:srgbClr val="A6A6A6"/>
          </p15:clr>
        </p15:guide>
        <p15:guide id="25" orient="horz" pos="1827">
          <p15:clr>
            <a:srgbClr val="A4A3A4"/>
          </p15:clr>
        </p15:guide>
        <p15:guide id="26" orient="horz" pos="2818">
          <p15:clr>
            <a:srgbClr val="A4A3A4"/>
          </p15:clr>
        </p15:guide>
        <p15:guide id="27" orient="horz" pos="399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microsoft.com/office/2007/relationships/hdphoto" Target="../media/hdphoto6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5" Type="http://schemas.microsoft.com/office/2007/relationships/hdphoto" Target="../media/hdphoto8.wdp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4.xml"/><Relationship Id="rId4" Type="http://schemas.microsoft.com/office/2007/relationships/hdphoto" Target="../media/hdphoto9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.xml"/><Relationship Id="rId6" Type="http://schemas.microsoft.com/office/2007/relationships/hdphoto" Target="../media/hdphoto11.wdp"/><Relationship Id="rId5" Type="http://schemas.openxmlformats.org/officeDocument/2006/relationships/image" Target="../media/image33.png"/><Relationship Id="rId4" Type="http://schemas.microsoft.com/office/2007/relationships/hdphoto" Target="../media/hdphoto10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Relationship Id="rId4" Type="http://schemas.microsoft.com/office/2007/relationships/hdphoto" Target="../media/hdphoto12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Relationship Id="rId6" Type="http://schemas.microsoft.com/office/2007/relationships/hdphoto" Target="../media/hdphoto14.wdp"/><Relationship Id="rId5" Type="http://schemas.openxmlformats.org/officeDocument/2006/relationships/image" Target="../media/image36.png"/><Relationship Id="rId4" Type="http://schemas.microsoft.com/office/2007/relationships/hdphoto" Target="../media/hdphoto13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Relationship Id="rId4" Type="http://schemas.microsoft.com/office/2007/relationships/hdphoto" Target="../media/hdphoto15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6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6.xml"/><Relationship Id="rId6" Type="http://schemas.microsoft.com/office/2007/relationships/hdphoto" Target="../media/hdphoto18.wdp"/><Relationship Id="rId5" Type="http://schemas.openxmlformats.org/officeDocument/2006/relationships/image" Target="../media/image43.png"/><Relationship Id="rId4" Type="http://schemas.microsoft.com/office/2007/relationships/hdphoto" Target="../media/hdphoto17.wdp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19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0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0.wdp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9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chart" Target="../charts/char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10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openxmlformats.org/officeDocument/2006/relationships/chart" Target="../charts/char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64.jpeg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11.xml"/><Relationship Id="rId6" Type="http://schemas.openxmlformats.org/officeDocument/2006/relationships/chart" Target="../charts/chart4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5" Type="http://schemas.microsoft.com/office/2007/relationships/hdphoto" Target="../media/hdphoto3.wdp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4" Type="http://schemas.microsoft.com/office/2007/relationships/hdphoto" Target="../media/hdphoto4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Relationship Id="rId4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E2FB9A45-00FE-655D-7CB6-A2FB33A477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573567"/>
            <a:ext cx="12160438" cy="23876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GB" sz="4000" b="1" i="0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imeric Antigen Receptor (CAR) T-Cell Therapy, Bispecific Antibodies and Antibody-Drug Conjugates (ADCs)</a:t>
            </a:r>
            <a:endParaRPr lang="el-GR" sz="4000" b="1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Εικόνα 5">
            <a:extLst>
              <a:ext uri="{FF2B5EF4-FFF2-40B4-BE49-F238E27FC236}">
                <a16:creationId xmlns:a16="http://schemas.microsoft.com/office/drawing/2014/main" id="{75793A5B-1839-02F1-2253-6476A445A3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7" t="4640" r="48328" b="52661"/>
          <a:stretch>
            <a:fillRect/>
          </a:stretch>
        </p:blipFill>
        <p:spPr bwMode="auto">
          <a:xfrm>
            <a:off x="0" y="5386127"/>
            <a:ext cx="1147665" cy="1403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owl1">
            <a:extLst>
              <a:ext uri="{FF2B5EF4-FFF2-40B4-BE49-F238E27FC236}">
                <a16:creationId xmlns:a16="http://schemas.microsoft.com/office/drawing/2014/main" id="{115B8875-3FB5-F33C-47B0-B642F1528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7750" y="6000750"/>
            <a:ext cx="984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75570E41-DE26-4BCF-6EE2-DD3B16671014}"/>
              </a:ext>
            </a:extLst>
          </p:cNvPr>
          <p:cNvSpPr txBox="1">
            <a:spLocks/>
          </p:cNvSpPr>
          <p:nvPr/>
        </p:nvSpPr>
        <p:spPr>
          <a:xfrm>
            <a:off x="31562" y="5232020"/>
            <a:ext cx="12192000" cy="1131590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Trebuchet MS" panose="020B0603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7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001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30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Trebuchet MS" panose="020B0603020202020204" pitchFamily="34" charset="0"/>
              <a:buChar char="—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letios</a:t>
            </a:r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0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anos) Dimopoulos, MD</a:t>
            </a:r>
          </a:p>
          <a:p>
            <a:pPr marL="0" indent="0"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fessor of Hematology/Oncology, Director</a:t>
            </a:r>
          </a:p>
          <a:p>
            <a:pPr marL="0" indent="0"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sma Cell Dyscrasias Unit, Department of Clinical Therapeutics,</a:t>
            </a:r>
          </a:p>
          <a:p>
            <a:pPr marL="0" indent="0"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ational and </a:t>
            </a:r>
            <a:r>
              <a:rPr lang="en-US" sz="2000" b="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podistrian</a:t>
            </a:r>
            <a:r>
              <a:rPr lang="en-US" sz="2000" b="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University of Athens</a:t>
            </a:r>
          </a:p>
          <a:p>
            <a:pPr marL="0" indent="0" algn="ctr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hool of Medicine, Athens, Greece</a:t>
            </a:r>
          </a:p>
        </p:txBody>
      </p:sp>
    </p:spTree>
    <p:extLst>
      <p:ext uri="{BB962C8B-B14F-4D97-AF65-F5344CB8AC3E}">
        <p14:creationId xmlns:p14="http://schemas.microsoft.com/office/powerpoint/2010/main" val="1428559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4063B784-AE76-D1E8-87CA-DBACFF8FAE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CDEC35A-FE5F-21D0-E107-EF8759461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i="0" dirty="0">
                <a:solidFill>
                  <a:srgbClr val="C00000"/>
                </a:solidFill>
                <a:effectLst/>
              </a:rPr>
              <a:t>Phase I Trial of MCARH109 in RRMM: Efficacy Data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2BCC98-C0A1-6C5B-85C0-99E6AEE58CB3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730250" y="6441169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Jurgens EM, et al. </a:t>
            </a:r>
            <a:r>
              <a:rPr lang="en-US" sz="1000" b="0" i="0" dirty="0">
                <a:effectLst/>
              </a:rPr>
              <a:t>J Clin Oncol 2025;43:498-504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2" name="Εικόνα 1">
            <a:extLst>
              <a:ext uri="{FF2B5EF4-FFF2-40B4-BE49-F238E27FC236}">
                <a16:creationId xmlns:a16="http://schemas.microsoft.com/office/drawing/2014/main" id="{6817E8D3-5BB7-21A7-1DFA-87FD79174A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59366"/>
          <a:stretch/>
        </p:blipFill>
        <p:spPr>
          <a:xfrm>
            <a:off x="188779" y="687395"/>
            <a:ext cx="3478869" cy="6082088"/>
          </a:xfrm>
          <a:prstGeom prst="rect">
            <a:avLst/>
          </a:prstGeom>
        </p:spPr>
      </p:pic>
      <p:pic>
        <p:nvPicPr>
          <p:cNvPr id="5" name="Εικόνα 4">
            <a:extLst>
              <a:ext uri="{FF2B5EF4-FFF2-40B4-BE49-F238E27FC236}">
                <a16:creationId xmlns:a16="http://schemas.microsoft.com/office/drawing/2014/main" id="{CE61F74F-2B67-A252-7076-FDBDADE618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6200" y="687395"/>
            <a:ext cx="3931418" cy="6093662"/>
          </a:xfrm>
          <a:prstGeom prst="rect">
            <a:avLst/>
          </a:prstGeom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id="{771644E6-BB3F-8C1E-6DC8-761F153D80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75610" y="712227"/>
            <a:ext cx="3803895" cy="5728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47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2EF59-8B33-09D7-A3B9-5E1588889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941" y="165746"/>
            <a:ext cx="10515600" cy="1325563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se I/II MajesTEC-1: </a:t>
            </a:r>
            <a:r>
              <a:rPr lang="en-US" sz="320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listamab</a:t>
            </a:r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R/R MM</a:t>
            </a:r>
          </a:p>
        </p:txBody>
      </p:sp>
      <p:pic>
        <p:nvPicPr>
          <p:cNvPr id="4" name="Picture 3" descr="A diagram of a number of patients&#10;&#10;AI-generated content may be incorrect.">
            <a:extLst>
              <a:ext uri="{FF2B5EF4-FFF2-40B4-BE49-F238E27FC236}">
                <a16:creationId xmlns:a16="http://schemas.microsoft.com/office/drawing/2014/main" id="{284ACAC6-F7C9-71BE-AD21-BC5C9537F1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705" y="1759568"/>
            <a:ext cx="6324165" cy="3929775"/>
          </a:xfrm>
          <a:prstGeom prst="rect">
            <a:avLst/>
          </a:prstGeom>
        </p:spPr>
      </p:pic>
      <p:sp>
        <p:nvSpPr>
          <p:cNvPr id="8" name="Text Box 15">
            <a:extLst>
              <a:ext uri="{FF2B5EF4-FFF2-40B4-BE49-F238E27FC236}">
                <a16:creationId xmlns:a16="http://schemas.microsoft.com/office/drawing/2014/main" id="{5DCA0ECA-40EF-F17E-89AA-5BCF965010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6211" y="6581001"/>
            <a:ext cx="2855041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arfall</a:t>
            </a:r>
            <a:r>
              <a:rPr lang="en-US" altLang="en-US" sz="1200" b="0" spc="-10" dirty="0">
                <a:latin typeface="Calibri" panose="020F0502020204030204" pitchFamily="34" charset="0"/>
                <a:cs typeface="Arial" panose="020B0604020202020204" pitchFamily="34" charset="0"/>
              </a:rPr>
              <a:t> A, et al.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ASCO 2024. </a:t>
            </a:r>
            <a:r>
              <a:rPr kumimoji="0" lang="en-US" altLang="en-US" sz="1200" b="0" i="0" u="none" strike="noStrike" kern="1200" cap="none" spc="-1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str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7540. ​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5" name="Group 3">
            <a:extLst>
              <a:ext uri="{FF2B5EF4-FFF2-40B4-BE49-F238E27FC236}">
                <a16:creationId xmlns:a16="http://schemas.microsoft.com/office/drawing/2014/main" id="{9920DDEC-9E65-2EA9-CA5B-9D3849CD453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351161"/>
              </p:ext>
            </p:extLst>
          </p:nvPr>
        </p:nvGraphicFramePr>
        <p:xfrm>
          <a:off x="276941" y="4621890"/>
          <a:ext cx="5329764" cy="1775736"/>
        </p:xfrm>
        <a:graphic>
          <a:graphicData uri="http://schemas.openxmlformats.org/drawingml/2006/table">
            <a:tbl>
              <a:tblPr/>
              <a:tblGrid>
                <a:gridCol w="2794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51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1450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utcomes, </a:t>
                      </a:r>
                      <a:r>
                        <a:rPr kumimoji="0" lang="en-GB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95% CI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l Patients (N = 165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762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oR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.0 (17.0-NE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762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PFS</a:t>
                      </a:r>
                    </a:p>
                  </a:txBody>
                  <a:tcPr marL="121699" marR="121699" marT="45728" marB="45728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.4 (8.8-16.4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541726"/>
                  </a:ext>
                </a:extLst>
              </a:tr>
              <a:tr h="414762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OS</a:t>
                      </a:r>
                    </a:p>
                  </a:txBody>
                  <a:tcPr marL="121699" marR="121699" marT="45728" marB="45728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.9 (16-NE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819559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21D541CC-80D0-2947-2739-F76813BF7F44}"/>
              </a:ext>
            </a:extLst>
          </p:cNvPr>
          <p:cNvSpPr txBox="1"/>
          <p:nvPr/>
        </p:nvSpPr>
        <p:spPr>
          <a:xfrm>
            <a:off x="650649" y="1491309"/>
            <a:ext cx="446252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R/R MM after ≥3 lines of therapy, including an </a:t>
            </a:r>
            <a:r>
              <a:rPr lang="en-US" sz="1800" dirty="0" err="1"/>
              <a:t>IMiD</a:t>
            </a:r>
            <a:r>
              <a:rPr lang="en-US" sz="1800" dirty="0"/>
              <a:t>, PI, and anti-CD38 </a:t>
            </a:r>
            <a:r>
              <a:rPr lang="en-US" sz="1800" dirty="0" err="1"/>
              <a:t>mAb</a:t>
            </a:r>
            <a:r>
              <a:rPr lang="en-US" sz="1800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High-risk cytogenetics=26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edian prior lines of therapy = 5 (range: 2-14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riple-class refractory=78%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nta refractory= 30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Refractory to last therapy line= 90%</a:t>
            </a:r>
            <a:endParaRPr lang="en-US" sz="1600" dirty="0"/>
          </a:p>
          <a:p>
            <a:r>
              <a:rPr lang="en-US" sz="1800" b="1" dirty="0" err="1"/>
              <a:t>Teclistamab</a:t>
            </a:r>
            <a:r>
              <a:rPr lang="en-US" sz="1800" dirty="0"/>
              <a:t>: 1.5 mg/kg SC weekly, after step-u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9566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E69762-D3AF-B6D9-6AF0-7642F8FA2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699" y="0"/>
            <a:ext cx="10515600" cy="1325563"/>
          </a:xfrm>
        </p:spPr>
        <p:txBody>
          <a:bodyPr/>
          <a:lstStyle/>
          <a:p>
            <a:r>
              <a:rPr lang="en-US" sz="2800" b="1" dirty="0">
                <a:solidFill>
                  <a:srgbClr val="C00000"/>
                </a:solidFill>
              </a:rPr>
              <a:t>MajesTEC-1: Updated Efficacy of </a:t>
            </a:r>
            <a:r>
              <a:rPr lang="en-US" sz="2800" b="1" dirty="0" err="1">
                <a:solidFill>
                  <a:srgbClr val="C00000"/>
                </a:solidFill>
              </a:rPr>
              <a:t>Teclistamab</a:t>
            </a:r>
            <a:r>
              <a:rPr lang="en-US" sz="2800" b="1" dirty="0">
                <a:solidFill>
                  <a:srgbClr val="C00000"/>
                </a:solidFill>
              </a:rPr>
              <a:t> in R/R MM</a:t>
            </a:r>
            <a:endParaRPr lang="en-US" b="1" dirty="0">
              <a:solidFill>
                <a:srgbClr val="C00000"/>
              </a:solidFill>
            </a:endParaRPr>
          </a:p>
        </p:txBody>
      </p:sp>
      <p:pic>
        <p:nvPicPr>
          <p:cNvPr id="6" name="Picture 5" descr="A graph of patients with numbers and a number of patients&#10;&#10;AI-generated content may be incorrect.">
            <a:extLst>
              <a:ext uri="{FF2B5EF4-FFF2-40B4-BE49-F238E27FC236}">
                <a16:creationId xmlns:a16="http://schemas.microsoft.com/office/drawing/2014/main" id="{79628566-8B59-BD29-5782-75860A3619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699" y="1028583"/>
            <a:ext cx="4413901" cy="4095251"/>
          </a:xfrm>
          <a:prstGeom prst="rect">
            <a:avLst/>
          </a:prstGeom>
        </p:spPr>
      </p:pic>
      <p:pic>
        <p:nvPicPr>
          <p:cNvPr id="8" name="Picture 7" descr="A graph of patients progression&#10;&#10;AI-generated content may be incorrect.">
            <a:extLst>
              <a:ext uri="{FF2B5EF4-FFF2-40B4-BE49-F238E27FC236}">
                <a16:creationId xmlns:a16="http://schemas.microsoft.com/office/drawing/2014/main" id="{A04C9052-46F0-9A86-18CA-55BE6BEC8F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360" y="1245565"/>
            <a:ext cx="5487480" cy="5028958"/>
          </a:xfrm>
          <a:prstGeom prst="rect">
            <a:avLst/>
          </a:prstGeom>
        </p:spPr>
      </p:pic>
      <p:graphicFrame>
        <p:nvGraphicFramePr>
          <p:cNvPr id="9" name="Group 3">
            <a:extLst>
              <a:ext uri="{FF2B5EF4-FFF2-40B4-BE49-F238E27FC236}">
                <a16:creationId xmlns:a16="http://schemas.microsoft.com/office/drawing/2014/main" id="{D4886976-7C66-A8E8-CF11-76A134FF07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3203378"/>
              </p:ext>
            </p:extLst>
          </p:nvPr>
        </p:nvGraphicFramePr>
        <p:xfrm>
          <a:off x="225342" y="5123834"/>
          <a:ext cx="5014390" cy="1507153"/>
        </p:xfrm>
        <a:graphic>
          <a:graphicData uri="http://schemas.openxmlformats.org/drawingml/2006/table">
            <a:tbl>
              <a:tblPr/>
              <a:tblGrid>
                <a:gridCol w="26292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51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9825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utcomes, </a:t>
                      </a:r>
                      <a:r>
                        <a:rPr kumimoji="0" lang="en-GB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  <a:r>
                        <a:rPr kumimoji="0" lang="en-GB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95% CI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ll Patients (N = 165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778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</a:t>
                      </a: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DoR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21699" marR="121699" marT="45728" marB="45728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.0 (17.0-NE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3778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PFS</a:t>
                      </a:r>
                    </a:p>
                  </a:txBody>
                  <a:tcPr marL="121699" marR="121699" marT="45728" marB="45728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.4 (8.8-16.4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541726"/>
                  </a:ext>
                </a:extLst>
              </a:tr>
              <a:tr h="353778"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edian OS</a:t>
                      </a:r>
                    </a:p>
                  </a:txBody>
                  <a:tcPr marL="121699" marR="121699" marT="45728" marB="45728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058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11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173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231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5289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2347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199405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6462" algn="l" defTabSz="91411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.9 (16-NE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819559"/>
                  </a:ext>
                </a:extLst>
              </a:tr>
            </a:tbl>
          </a:graphicData>
        </a:graphic>
      </p:graphicFrame>
      <p:sp>
        <p:nvSpPr>
          <p:cNvPr id="10" name="Text Box 15">
            <a:extLst>
              <a:ext uri="{FF2B5EF4-FFF2-40B4-BE49-F238E27FC236}">
                <a16:creationId xmlns:a16="http://schemas.microsoft.com/office/drawing/2014/main" id="{F4223B05-4C0F-DF39-14EC-B58EE5156B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6211" y="6581001"/>
            <a:ext cx="2855041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arfall</a:t>
            </a:r>
            <a:r>
              <a:rPr lang="en-US" altLang="en-US" sz="1200" b="0" spc="-10" dirty="0">
                <a:latin typeface="Calibri" panose="020F0502020204030204" pitchFamily="34" charset="0"/>
                <a:cs typeface="Arial" panose="020B0604020202020204" pitchFamily="34" charset="0"/>
              </a:rPr>
              <a:t> A, et al.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ASCO 2024. </a:t>
            </a:r>
            <a:r>
              <a:rPr kumimoji="0" lang="en-US" altLang="en-US" sz="1200" b="0" i="0" u="none" strike="noStrike" kern="1200" cap="none" spc="-1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str</a:t>
            </a: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7540. ​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456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3817" y="240030"/>
            <a:ext cx="11004810" cy="769715"/>
          </a:xfrm>
        </p:spPr>
        <p:txBody>
          <a:bodyPr/>
          <a:lstStyle/>
          <a:p>
            <a:pPr lvl="0"/>
            <a:r>
              <a:rPr lang="en-GB" sz="3200" noProof="0" dirty="0">
                <a:solidFill>
                  <a:srgbClr val="C00000"/>
                </a:solidFill>
              </a:rPr>
              <a:t>MagnetisMM-3: </a:t>
            </a:r>
            <a:r>
              <a:rPr lang="en-GB" sz="3200" noProof="0" dirty="0" err="1">
                <a:solidFill>
                  <a:srgbClr val="C00000"/>
                </a:solidFill>
              </a:rPr>
              <a:t>Elranatamab</a:t>
            </a:r>
            <a:r>
              <a:rPr lang="en-GB" sz="3200" noProof="0" dirty="0">
                <a:solidFill>
                  <a:srgbClr val="C00000"/>
                </a:solidFill>
              </a:rPr>
              <a:t> in TCE RRMM</a:t>
            </a:r>
            <a:endParaRPr lang="en-GB" sz="3200" baseline="30000" noProof="0" dirty="0">
              <a:solidFill>
                <a:srgbClr val="C00000"/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433817" y="6446467"/>
            <a:ext cx="11594060" cy="39248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374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rince M, et al. ASH 2024 (Abstract No. 4738 – poster). </a:t>
            </a:r>
          </a:p>
        </p:txBody>
      </p:sp>
      <p:pic>
        <p:nvPicPr>
          <p:cNvPr id="9" name="Picture 9">
            <a:extLst>
              <a:ext uri="{FF2B5EF4-FFF2-40B4-BE49-F238E27FC236}">
                <a16:creationId xmlns:a16="http://schemas.microsoft.com/office/drawing/2014/main" id="{3ACBF50F-6A61-5EFB-9A06-893A2C740F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9608" y="1124044"/>
            <a:ext cx="5633430" cy="5185315"/>
          </a:xfrm>
          <a:prstGeom prst="rect">
            <a:avLst/>
          </a:prstGeom>
        </p:spPr>
      </p:pic>
      <p:sp>
        <p:nvSpPr>
          <p:cNvPr id="12" name="object 3">
            <a:extLst>
              <a:ext uri="{FF2B5EF4-FFF2-40B4-BE49-F238E27FC236}">
                <a16:creationId xmlns:a16="http://schemas.microsoft.com/office/drawing/2014/main" id="{75859539-5A0B-2E83-2B4C-9A8A708C98F8}"/>
              </a:ext>
            </a:extLst>
          </p:cNvPr>
          <p:cNvSpPr txBox="1"/>
          <p:nvPr/>
        </p:nvSpPr>
        <p:spPr>
          <a:xfrm>
            <a:off x="7076812" y="1250678"/>
            <a:ext cx="4361815" cy="246861"/>
          </a:xfrm>
          <a:prstGeom prst="rect">
            <a:avLst/>
          </a:prstGeom>
          <a:solidFill>
            <a:srgbClr val="FFE4D4"/>
          </a:solidFill>
        </p:spPr>
        <p:txBody>
          <a:bodyPr vert="horz" wrap="square" lIns="0" tIns="31114" rIns="0" bIns="0" rtlCol="0">
            <a:spAutoFit/>
          </a:bodyPr>
          <a:lstStyle/>
          <a:p>
            <a:pPr marL="1073785" marR="0" lvl="0" indent="0" defTabSz="91440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1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Elranatamab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dosing</a:t>
            </a:r>
            <a:r>
              <a:rPr kumimoji="0" lang="en-US" sz="1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lang="en-US" sz="1400" b="1" i="0" u="none" strike="noStrike" kern="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schedule</a:t>
            </a:r>
            <a:endParaRPr kumimoji="0" sz="1350" b="0" i="0" u="none" strike="noStrike" kern="0" cap="none" spc="0" normalizeH="0" baseline="30864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47E25041-FC98-AC8E-D505-D392FA54BD53}"/>
              </a:ext>
            </a:extLst>
          </p:cNvPr>
          <p:cNvSpPr txBox="1"/>
          <p:nvPr/>
        </p:nvSpPr>
        <p:spPr>
          <a:xfrm>
            <a:off x="7093517" y="2078961"/>
            <a:ext cx="4353560" cy="246861"/>
          </a:xfrm>
          <a:prstGeom prst="rect">
            <a:avLst/>
          </a:prstGeom>
          <a:solidFill>
            <a:srgbClr val="FFE4D4"/>
          </a:solidFill>
        </p:spPr>
        <p:txBody>
          <a:bodyPr vert="horz" wrap="square" lIns="0" tIns="31114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Baseline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characteristics,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Cohort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A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(N=123</a:t>
            </a:r>
            <a:r>
              <a:rPr kumimoji="0" lang="en-US" sz="1400" b="1" i="0" u="none" strike="noStrike" kern="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)</a:t>
            </a:r>
            <a:endParaRPr kumimoji="0" sz="1350" b="0" i="0" u="none" strike="noStrike" kern="0" cap="none" spc="0" normalizeH="0" baseline="30864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994361E9-E99D-3977-D88B-84C4F6EA9D9D}"/>
              </a:ext>
            </a:extLst>
          </p:cNvPr>
          <p:cNvSpPr txBox="1"/>
          <p:nvPr/>
        </p:nvSpPr>
        <p:spPr>
          <a:xfrm>
            <a:off x="7367960" y="1628175"/>
            <a:ext cx="3779520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QW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cycles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1–6;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Q2W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cycles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7+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for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patients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with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</a:rPr>
              <a:t>≥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cs typeface="Calibri"/>
              </a:rPr>
              <a:t>PR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0E06EA80-C7A3-BCCE-B1C3-6FB586797AAC}"/>
              </a:ext>
            </a:extLst>
          </p:cNvPr>
          <p:cNvSpPr/>
          <p:nvPr/>
        </p:nvSpPr>
        <p:spPr>
          <a:xfrm>
            <a:off x="6704455" y="2438447"/>
            <a:ext cx="4166235" cy="294640"/>
          </a:xfrm>
          <a:custGeom>
            <a:avLst/>
            <a:gdLst/>
            <a:ahLst/>
            <a:cxnLst/>
            <a:rect l="l" t="t" r="r" b="b"/>
            <a:pathLst>
              <a:path w="4166235" h="294639">
                <a:moveTo>
                  <a:pt x="4166070" y="0"/>
                </a:moveTo>
                <a:lnTo>
                  <a:pt x="3045218" y="0"/>
                </a:lnTo>
                <a:lnTo>
                  <a:pt x="0" y="0"/>
                </a:lnTo>
                <a:lnTo>
                  <a:pt x="0" y="294119"/>
                </a:lnTo>
                <a:lnTo>
                  <a:pt x="3045218" y="294119"/>
                </a:lnTo>
                <a:lnTo>
                  <a:pt x="4166070" y="294119"/>
                </a:lnTo>
                <a:lnTo>
                  <a:pt x="416607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aphicFrame>
        <p:nvGraphicFramePr>
          <p:cNvPr id="20" name="object 16">
            <a:extLst>
              <a:ext uri="{FF2B5EF4-FFF2-40B4-BE49-F238E27FC236}">
                <a16:creationId xmlns:a16="http://schemas.microsoft.com/office/drawing/2014/main" id="{0A635FBA-7966-6EB6-4778-214CB5695F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466271"/>
              </p:ext>
            </p:extLst>
          </p:nvPr>
        </p:nvGraphicFramePr>
        <p:xfrm>
          <a:off x="7280842" y="2528046"/>
          <a:ext cx="4166235" cy="36258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5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0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4005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Extramedullary</a:t>
                      </a:r>
                      <a:r>
                        <a:rPr sz="1400" spc="-5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disease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by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BICR,</a:t>
                      </a:r>
                      <a:r>
                        <a:rPr sz="1350" baseline="30864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†</a:t>
                      </a:r>
                      <a:r>
                        <a:rPr sz="1350" spc="52" baseline="30864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%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39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31.7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780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Bone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marrow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plasma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cells,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%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C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595">
                <a:tc>
                  <a:txBody>
                    <a:bodyPr/>
                    <a:lstStyle/>
                    <a:p>
                      <a:pPr marL="85725">
                        <a:lnSpc>
                          <a:spcPts val="1385"/>
                        </a:lnSpc>
                      </a:pPr>
                      <a:r>
                        <a:rPr sz="1400" spc="-2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&lt;50%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85"/>
                        </a:lnSpc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89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72.4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C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marL="85725">
                        <a:lnSpc>
                          <a:spcPts val="1535"/>
                        </a:lnSpc>
                      </a:pPr>
                      <a:r>
                        <a:rPr sz="1400" spc="-2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≥</a:t>
                      </a:r>
                      <a:r>
                        <a:rPr sz="1400" spc="-2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50%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35"/>
                        </a:lnSpc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26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21.1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FC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4154">
                <a:tc>
                  <a:txBody>
                    <a:bodyPr/>
                    <a:lstStyle/>
                    <a:p>
                      <a:pPr marL="85725">
                        <a:lnSpc>
                          <a:spcPts val="1430"/>
                        </a:lnSpc>
                      </a:pP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Missing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30"/>
                        </a:lnSpc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8</a:t>
                      </a:r>
                      <a:r>
                        <a:rPr sz="1400" spc="-1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6.5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CEC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4005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Prior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lines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therapy,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median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range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B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5</a:t>
                      </a:r>
                      <a:r>
                        <a:rPr sz="1400" spc="-1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2–22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4005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Prior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em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cell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transplant,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spc="-4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%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D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87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70.7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D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Exposure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atus,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%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22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7EB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marL="312420">
                        <a:lnSpc>
                          <a:spcPts val="1580"/>
                        </a:lnSpc>
                      </a:pP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Triple-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class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7EB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123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100.0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1775">
                <a:tc>
                  <a:txBody>
                    <a:bodyPr/>
                    <a:lstStyle/>
                    <a:p>
                      <a:pPr marL="312420">
                        <a:lnSpc>
                          <a:spcPts val="1370"/>
                        </a:lnSpc>
                      </a:pP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Penta-</a:t>
                      </a:r>
                      <a:r>
                        <a:rPr sz="1400" spc="-2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drug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B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90"/>
                        </a:lnSpc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87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70.7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Refractory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atus,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%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22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DD4E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D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7335">
                <a:tc>
                  <a:txBody>
                    <a:bodyPr/>
                    <a:lstStyle/>
                    <a:p>
                      <a:pPr marL="312420">
                        <a:lnSpc>
                          <a:spcPts val="1580"/>
                        </a:lnSpc>
                      </a:pP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Triple-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class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CD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119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96.7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CD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1775">
                <a:tc>
                  <a:txBody>
                    <a:bodyPr/>
                    <a:lstStyle/>
                    <a:p>
                      <a:pPr marL="312420">
                        <a:lnSpc>
                          <a:spcPts val="1370"/>
                        </a:lnSpc>
                      </a:pP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Penta-</a:t>
                      </a:r>
                      <a:r>
                        <a:rPr sz="1400" spc="-2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drug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DD4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90"/>
                        </a:lnSpc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5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1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4</a:t>
                      </a:r>
                      <a:r>
                        <a:rPr lang="en-US"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1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.</a:t>
                      </a:r>
                      <a:r>
                        <a:rPr lang="en-US"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5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DD4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4005">
                <a:tc>
                  <a:txBody>
                    <a:bodyPr/>
                    <a:lstStyle/>
                    <a:p>
                      <a:pPr marL="85725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Refractory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to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last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line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400" spc="-3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therapy,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n</a:t>
                      </a:r>
                      <a:r>
                        <a:rPr sz="1400" spc="-3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%)</a:t>
                      </a:r>
                      <a:endParaRPr sz="140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22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B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40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118</a:t>
                      </a:r>
                      <a:r>
                        <a:rPr sz="1400" spc="-4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(95.9)</a:t>
                      </a:r>
                      <a:endParaRPr sz="1400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22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7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084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4B7F21F-2D27-C47E-4046-E593F510A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D9EDE2-6046-2B1F-E345-BC44CEE9D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602" y="66770"/>
            <a:ext cx="11249025" cy="942975"/>
          </a:xfrm>
        </p:spPr>
        <p:txBody>
          <a:bodyPr/>
          <a:lstStyle/>
          <a:p>
            <a:pPr lvl="0"/>
            <a:r>
              <a:rPr lang="en-GB" sz="3200" noProof="0" dirty="0">
                <a:solidFill>
                  <a:srgbClr val="C00000"/>
                </a:solidFill>
              </a:rPr>
              <a:t>MagnetisMM-3: </a:t>
            </a:r>
            <a:r>
              <a:rPr lang="en-GB" sz="3200" noProof="0" dirty="0" err="1">
                <a:solidFill>
                  <a:srgbClr val="C00000"/>
                </a:solidFill>
              </a:rPr>
              <a:t>Elranatamab</a:t>
            </a:r>
            <a:r>
              <a:rPr lang="en-GB" sz="3200" noProof="0" dirty="0">
                <a:solidFill>
                  <a:srgbClr val="C00000"/>
                </a:solidFill>
              </a:rPr>
              <a:t> in TCE RRMM</a:t>
            </a:r>
            <a:endParaRPr lang="en-GB" sz="3200" baseline="30000" noProof="0" dirty="0">
              <a:solidFill>
                <a:srgbClr val="C00000"/>
              </a:solidFill>
            </a:endParaRP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917484B-2775-4AFB-F61D-14D2D91EB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3817" y="6446467"/>
            <a:ext cx="11594060" cy="39248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ICR, blinded independent central review; CI, confidence interval; CR, complete response; (m)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(median) duration of response; EMA, European Medicines Agency; FDA, US Food and Drug Administration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F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median follow-up;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E, not evaluable; OR, objective response; ORR, overall response rate; (m)PFS, (median) progression-free survival; </a:t>
            </a: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R, relapsed/refractory; TCE, triple class exposed; VGPR, very good partial respons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374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Prince M, et al. ASH 2024 (Abstract No. 4738 – poster).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2E325AA-608C-728C-14EE-05ADD7349530}"/>
              </a:ext>
            </a:extLst>
          </p:cNvPr>
          <p:cNvSpPr txBox="1">
            <a:spLocks/>
          </p:cNvSpPr>
          <p:nvPr/>
        </p:nvSpPr>
        <p:spPr>
          <a:xfrm>
            <a:off x="572149" y="1266931"/>
            <a:ext cx="5704584" cy="709122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R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per BICR: 61.0%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≥C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: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37.4%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F8A506-C720-2372-0C0D-146FC97CE047}"/>
              </a:ext>
            </a:extLst>
          </p:cNvPr>
          <p:cNvSpPr txBox="1"/>
          <p:nvPr/>
        </p:nvSpPr>
        <p:spPr>
          <a:xfrm>
            <a:off x="8032225" y="2354926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oR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522D476-96B6-04A1-2930-2DC0A0E2CE26}"/>
              </a:ext>
            </a:extLst>
          </p:cNvPr>
          <p:cNvSpPr txBox="1"/>
          <p:nvPr/>
        </p:nvSpPr>
        <p:spPr>
          <a:xfrm>
            <a:off x="3311878" y="1841590"/>
            <a:ext cx="2622104" cy="302162"/>
          </a:xfrm>
          <a:prstGeom prst="rect">
            <a:avLst/>
          </a:prstGeom>
          <a:solidFill>
            <a:srgbClr val="FFFFFF"/>
          </a:solidFill>
        </p:spPr>
        <p:txBody>
          <a:bodyPr wrap="none" l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00BE70-1C89-EA28-C545-ECD57A13F9E3}"/>
              </a:ext>
            </a:extLst>
          </p:cNvPr>
          <p:cNvSpPr txBox="1"/>
          <p:nvPr/>
        </p:nvSpPr>
        <p:spPr>
          <a:xfrm>
            <a:off x="2223078" y="2354926"/>
            <a:ext cx="121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FS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" name="TextBox 71">
            <a:extLst>
              <a:ext uri="{FF2B5EF4-FFF2-40B4-BE49-F238E27FC236}">
                <a16:creationId xmlns:a16="http://schemas.microsoft.com/office/drawing/2014/main" id="{B006AF09-69B9-2A84-0D80-468FA60EDF69}"/>
              </a:ext>
            </a:extLst>
          </p:cNvPr>
          <p:cNvSpPr txBox="1"/>
          <p:nvPr/>
        </p:nvSpPr>
        <p:spPr>
          <a:xfrm>
            <a:off x="6276733" y="1273296"/>
            <a:ext cx="4998271" cy="83099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Lucida Sans Unicode"/>
              </a:rPr>
              <a:t>N = 123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Lucida Sans Unicod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Lucida Sans Unicode"/>
              </a:rPr>
              <a:t>Median prior regimens: 5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Lucida Sans Unicod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Lucida Sans Unicode"/>
              </a:rPr>
              <a:t>mF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Lucida Sans Unicode"/>
              </a:rPr>
              <a:t>: 33.9 months (95% CI, </a:t>
            </a:r>
            <a:r>
              <a:rPr lang="en-US" sz="1600" dirty="0">
                <a:solidFill>
                  <a:prstClr val="black"/>
                </a:solidFill>
                <a:cs typeface="Lucida Sans Unicode"/>
              </a:rPr>
              <a:t>3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Lucida Sans Unicode"/>
              </a:rPr>
              <a:t>.4–34.6)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Lucida Sans Unicode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9EF242-CA8C-3EF5-D34F-2390F7D4D4C7}"/>
              </a:ext>
            </a:extLst>
          </p:cNvPr>
          <p:cNvGrpSpPr/>
          <p:nvPr/>
        </p:nvGrpSpPr>
        <p:grpSpPr>
          <a:xfrm>
            <a:off x="227901" y="2676630"/>
            <a:ext cx="5111035" cy="2914439"/>
            <a:chOff x="571962" y="2676630"/>
            <a:chExt cx="4766974" cy="271824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E66AEB1-87F0-B521-ABCE-F73D3F064C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71962" y="2676630"/>
              <a:ext cx="4766974" cy="2718247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13DF9AF-4895-07A4-DE8B-19B10DCB3A94}"/>
                </a:ext>
              </a:extLst>
            </p:cNvPr>
            <p:cNvSpPr txBox="1"/>
            <p:nvPr/>
          </p:nvSpPr>
          <p:spPr>
            <a:xfrm>
              <a:off x="1297463" y="4421044"/>
              <a:ext cx="2366610" cy="276999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mPFS, 17.2 months (95% CI, 9.8–NE)</a:t>
              </a:r>
            </a:p>
          </p:txBody>
        </p:sp>
      </p:grp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C3C45F00-D848-7B5C-289D-8F9E3E5FEC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92087" y="2870884"/>
            <a:ext cx="6053853" cy="304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32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6B285F-EB01-EDB0-6B2E-2CC7C676D8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4687E-72E0-9052-D6C6-7DA0FA0E1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162" y="6511"/>
            <a:ext cx="10520281" cy="1158531"/>
          </a:xfrm>
        </p:spPr>
        <p:txBody>
          <a:bodyPr/>
          <a:lstStyle/>
          <a:p>
            <a:r>
              <a:rPr lang="en-US" sz="3200" b="1" dirty="0">
                <a:solidFill>
                  <a:srgbClr val="C00000"/>
                </a:solidFill>
              </a:rPr>
              <a:t>Phase II MonumenTAL-1: </a:t>
            </a:r>
            <a:r>
              <a:rPr lang="en-US" sz="3200" b="1" dirty="0" err="1">
                <a:solidFill>
                  <a:srgbClr val="C00000"/>
                </a:solidFill>
              </a:rPr>
              <a:t>Talquetamab</a:t>
            </a:r>
            <a:r>
              <a:rPr lang="en-US" sz="3200" b="1" dirty="0">
                <a:solidFill>
                  <a:srgbClr val="C00000"/>
                </a:solidFill>
              </a:rPr>
              <a:t> in R/R MM </a:t>
            </a:r>
          </a:p>
        </p:txBody>
      </p:sp>
      <p:sp>
        <p:nvSpPr>
          <p:cNvPr id="8" name="Text Box 15">
            <a:extLst>
              <a:ext uri="{FF2B5EF4-FFF2-40B4-BE49-F238E27FC236}">
                <a16:creationId xmlns:a16="http://schemas.microsoft.com/office/drawing/2014/main" id="{D453E920-A33A-12B2-266A-55F03873ED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0399" y="6515912"/>
            <a:ext cx="2636739" cy="246221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sche L, et al. EHA 2024. </a:t>
            </a:r>
            <a:r>
              <a:rPr kumimoji="0" lang="en-US" alt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str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P915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D78607-297B-365D-6D7A-BD81FFAFA54D}"/>
              </a:ext>
            </a:extLst>
          </p:cNvPr>
          <p:cNvSpPr txBox="1"/>
          <p:nvPr/>
        </p:nvSpPr>
        <p:spPr bwMode="auto">
          <a:xfrm>
            <a:off x="487195" y="1390413"/>
            <a:ext cx="5773252" cy="491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tients with R/R MM after ≥3 lines of 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herapy, including an </a:t>
            </a:r>
            <a:r>
              <a:rPr kumimoji="0" lang="en-US" sz="2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MiD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, PI, anti-CD38 </a:t>
            </a:r>
            <a:r>
              <a:rPr kumimoji="0" lang="en-US" sz="2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b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800100" lvl="1" indent="-342900" fontAlgn="base">
              <a:lnSpc>
                <a:spcPct val="90000"/>
              </a:lnSpc>
              <a:spcBef>
                <a:spcPts val="1000"/>
              </a:spcBef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edian 5-6 prior lines of therapy across all cohorts</a:t>
            </a:r>
            <a:endParaRPr lang="en-US" sz="2000" kern="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800100" marR="0" lvl="1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kumimoji="0" lang="en-US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ple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-class refractory: 69%-84% </a:t>
            </a:r>
          </a:p>
          <a:p>
            <a:pPr marL="800100" marR="0" lvl="1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igh-risk cytogenetics: 27.1%</a:t>
            </a:r>
          </a:p>
          <a:p>
            <a:pPr marL="800100" marR="0" lvl="1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i="0" dirty="0">
                <a:solidFill>
                  <a:srgbClr val="1D1C1D"/>
                </a:solidFill>
                <a:effectLst/>
                <a:latin typeface="Slack-Lato"/>
              </a:rPr>
              <a:t>Extramedullary Disease: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4.3% </a:t>
            </a:r>
          </a:p>
          <a:p>
            <a:pPr marL="285750" marR="0" lvl="0" indent="-28575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alquetamab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0.4 mg/kg SC QW or 0.8 mg/kg SC Q2W with 2-3 step-up doses and/or premedication to reduce CRS</a:t>
            </a:r>
          </a:p>
          <a:p>
            <a:pPr marL="285750" marR="0" lvl="0" indent="-28575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rimary endpoint: 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LTs; </a:t>
            </a: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Key secondary endpoint: 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RR</a:t>
            </a:r>
          </a:p>
          <a:p>
            <a:pPr marL="742950" marR="0" lvl="1" indent="-28575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C9379C-FF4A-40E6-4E96-7B9B45C13330}"/>
              </a:ext>
            </a:extLst>
          </p:cNvPr>
          <p:cNvSpPr txBox="1"/>
          <p:nvPr/>
        </p:nvSpPr>
        <p:spPr bwMode="auto">
          <a:xfrm>
            <a:off x="7514739" y="1669152"/>
            <a:ext cx="366568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verall Response Rate with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alquetamab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84E498E-7F87-5C6A-11E0-ADC8599374E7}"/>
              </a:ext>
            </a:extLst>
          </p:cNvPr>
          <p:cNvGrpSpPr/>
          <p:nvPr/>
        </p:nvGrpSpPr>
        <p:grpSpPr>
          <a:xfrm>
            <a:off x="6788222" y="2045665"/>
            <a:ext cx="500019" cy="3280651"/>
            <a:chOff x="6714948" y="670660"/>
            <a:chExt cx="500019" cy="460735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825CB04-CC12-205B-9ACB-57D2AC12F505}"/>
                </a:ext>
              </a:extLst>
            </p:cNvPr>
            <p:cNvSpPr txBox="1"/>
            <p:nvPr/>
          </p:nvSpPr>
          <p:spPr bwMode="auto">
            <a:xfrm>
              <a:off x="6906177" y="4802549"/>
              <a:ext cx="288861" cy="47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2C9AEBB-A316-509E-D054-F7B8224556DF}"/>
                </a:ext>
              </a:extLst>
            </p:cNvPr>
            <p:cNvSpPr txBox="1"/>
            <p:nvPr/>
          </p:nvSpPr>
          <p:spPr bwMode="auto">
            <a:xfrm>
              <a:off x="6742195" y="3959625"/>
              <a:ext cx="459195" cy="47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0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08E17A1-8D30-6B0E-BACC-1C898FFA756E}"/>
                </a:ext>
              </a:extLst>
            </p:cNvPr>
            <p:cNvSpPr txBox="1"/>
            <p:nvPr/>
          </p:nvSpPr>
          <p:spPr bwMode="auto">
            <a:xfrm>
              <a:off x="6742195" y="3152047"/>
              <a:ext cx="449192" cy="47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0E32DD2-A37B-BEB8-C162-5922C03DAE7A}"/>
                </a:ext>
              </a:extLst>
            </p:cNvPr>
            <p:cNvSpPr txBox="1"/>
            <p:nvPr/>
          </p:nvSpPr>
          <p:spPr bwMode="auto">
            <a:xfrm>
              <a:off x="6748547" y="2321379"/>
              <a:ext cx="449192" cy="47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74AE624-D0C8-687A-F261-E896E526D680}"/>
                </a:ext>
              </a:extLst>
            </p:cNvPr>
            <p:cNvSpPr txBox="1"/>
            <p:nvPr/>
          </p:nvSpPr>
          <p:spPr bwMode="auto">
            <a:xfrm>
              <a:off x="6765775" y="1490712"/>
              <a:ext cx="449192" cy="47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80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F76604A-BE0B-B284-413D-3242E9EB0A26}"/>
                </a:ext>
              </a:extLst>
            </p:cNvPr>
            <p:cNvSpPr txBox="1"/>
            <p:nvPr/>
          </p:nvSpPr>
          <p:spPr bwMode="auto">
            <a:xfrm>
              <a:off x="6714948" y="670660"/>
              <a:ext cx="497251" cy="47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100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08DDA25-A3D7-A793-C796-7D34AD911AFA}"/>
              </a:ext>
            </a:extLst>
          </p:cNvPr>
          <p:cNvSpPr txBox="1"/>
          <p:nvPr/>
        </p:nvSpPr>
        <p:spPr bwMode="auto">
          <a:xfrm>
            <a:off x="7549713" y="5140203"/>
            <a:ext cx="10483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.4 mg/kg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C QW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938A829-2B1B-8FC4-77DD-3DCAEB15FF54}"/>
              </a:ext>
            </a:extLst>
          </p:cNvPr>
          <p:cNvGrpSpPr/>
          <p:nvPr/>
        </p:nvGrpSpPr>
        <p:grpSpPr>
          <a:xfrm>
            <a:off x="7704120" y="2984136"/>
            <a:ext cx="684114" cy="2187495"/>
            <a:chOff x="12509960" y="2311402"/>
            <a:chExt cx="1428468" cy="271247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F2A01F6-B192-303E-B8D0-96F6661A89A4}"/>
                </a:ext>
              </a:extLst>
            </p:cNvPr>
            <p:cNvSpPr/>
            <p:nvPr/>
          </p:nvSpPr>
          <p:spPr bwMode="auto">
            <a:xfrm>
              <a:off x="12509960" y="4471444"/>
              <a:ext cx="1428468" cy="552434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F91F6B0-00CD-AD3C-011C-726BE7692A42}"/>
                </a:ext>
              </a:extLst>
            </p:cNvPr>
            <p:cNvSpPr/>
            <p:nvPr/>
          </p:nvSpPr>
          <p:spPr bwMode="auto">
            <a:xfrm>
              <a:off x="12509960" y="3503180"/>
              <a:ext cx="1428468" cy="974295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9359E35-EA6C-FEF0-9044-8DA1C42870AA}"/>
                </a:ext>
              </a:extLst>
            </p:cNvPr>
            <p:cNvSpPr/>
            <p:nvPr/>
          </p:nvSpPr>
          <p:spPr bwMode="auto">
            <a:xfrm>
              <a:off x="12509960" y="3127420"/>
              <a:ext cx="1428468" cy="387185"/>
            </a:xfrm>
            <a:prstGeom prst="rect">
              <a:avLst/>
            </a:prstGeom>
            <a:solidFill>
              <a:schemeClr val="accent4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5846198-BF3E-DF70-0134-D7D50E636DB3}"/>
                </a:ext>
              </a:extLst>
            </p:cNvPr>
            <p:cNvSpPr/>
            <p:nvPr/>
          </p:nvSpPr>
          <p:spPr bwMode="auto">
            <a:xfrm>
              <a:off x="12509960" y="2311402"/>
              <a:ext cx="1428468" cy="842288"/>
            </a:xfrm>
            <a:prstGeom prst="rect">
              <a:avLst/>
            </a:prstGeom>
            <a:solidFill>
              <a:schemeClr val="accent6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B2185975-847C-EBE5-0C63-286C3D30DFE6}"/>
              </a:ext>
            </a:extLst>
          </p:cNvPr>
          <p:cNvSpPr txBox="1"/>
          <p:nvPr/>
        </p:nvSpPr>
        <p:spPr bwMode="auto">
          <a:xfrm>
            <a:off x="7585153" y="2445823"/>
            <a:ext cx="9220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74.1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106/143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62FEAF6-4453-01E8-E52B-981656DEB390}"/>
              </a:ext>
            </a:extLst>
          </p:cNvPr>
          <p:cNvSpPr txBox="1"/>
          <p:nvPr/>
        </p:nvSpPr>
        <p:spPr bwMode="auto">
          <a:xfrm>
            <a:off x="8342122" y="3561351"/>
            <a:ext cx="89865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≥ VGPR: 59.4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3E8F43D-EB35-7A15-C872-97AEECD6274C}"/>
              </a:ext>
            </a:extLst>
          </p:cNvPr>
          <p:cNvSpPr/>
          <p:nvPr/>
        </p:nvSpPr>
        <p:spPr bwMode="auto">
          <a:xfrm rot="10800000">
            <a:off x="8413970" y="3000999"/>
            <a:ext cx="78649" cy="1725116"/>
          </a:xfrm>
          <a:custGeom>
            <a:avLst/>
            <a:gdLst>
              <a:gd name="connsiteX0" fmla="*/ 102973 w 107092"/>
              <a:gd name="connsiteY0" fmla="*/ 0 h 308919"/>
              <a:gd name="connsiteX1" fmla="*/ 0 w 107092"/>
              <a:gd name="connsiteY1" fmla="*/ 0 h 308919"/>
              <a:gd name="connsiteX2" fmla="*/ 0 w 107092"/>
              <a:gd name="connsiteY2" fmla="*/ 308919 h 308919"/>
              <a:gd name="connsiteX3" fmla="*/ 107092 w 107092"/>
              <a:gd name="connsiteY3" fmla="*/ 308919 h 30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092" h="308919">
                <a:moveTo>
                  <a:pt x="102973" y="0"/>
                </a:moveTo>
                <a:lnTo>
                  <a:pt x="0" y="0"/>
                </a:lnTo>
                <a:lnTo>
                  <a:pt x="0" y="308919"/>
                </a:lnTo>
                <a:lnTo>
                  <a:pt x="107092" y="308919"/>
                </a:lnTo>
              </a:path>
            </a:pathLst>
          </a:custGeom>
          <a:noFill/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1ECBB59-4E8B-7998-B3AF-903E747DE513}"/>
              </a:ext>
            </a:extLst>
          </p:cNvPr>
          <p:cNvSpPr txBox="1"/>
          <p:nvPr/>
        </p:nvSpPr>
        <p:spPr bwMode="auto">
          <a:xfrm>
            <a:off x="7799185" y="3166823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3.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52151FB-4D2B-F32A-02C7-8DCFE0FC136F}"/>
              </a:ext>
            </a:extLst>
          </p:cNvPr>
          <p:cNvSpPr txBox="1"/>
          <p:nvPr/>
        </p:nvSpPr>
        <p:spPr bwMode="auto">
          <a:xfrm>
            <a:off x="7835765" y="3659046"/>
            <a:ext cx="41229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9.8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7915297-2114-3893-825C-4CD86BA2A54E}"/>
              </a:ext>
            </a:extLst>
          </p:cNvPr>
          <p:cNvSpPr txBox="1"/>
          <p:nvPr/>
        </p:nvSpPr>
        <p:spPr bwMode="auto">
          <a:xfrm>
            <a:off x="7794321" y="4183456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6.6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DED4204-6A87-4B54-10C3-ED8CB5A8C477}"/>
              </a:ext>
            </a:extLst>
          </p:cNvPr>
          <p:cNvSpPr txBox="1"/>
          <p:nvPr/>
        </p:nvSpPr>
        <p:spPr bwMode="auto">
          <a:xfrm>
            <a:off x="7801212" y="4792448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4.7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26F20C1-9BB1-72BC-3303-3273FBABB3BB}"/>
              </a:ext>
            </a:extLst>
          </p:cNvPr>
          <p:cNvGrpSpPr/>
          <p:nvPr/>
        </p:nvGrpSpPr>
        <p:grpSpPr>
          <a:xfrm>
            <a:off x="7265490" y="2228853"/>
            <a:ext cx="68039" cy="2940747"/>
            <a:chOff x="7483730" y="1958484"/>
            <a:chExt cx="88711" cy="3888936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42ED9E1C-DA8C-619F-0FE5-56D01D6C9F5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5847420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AA165E5-1DDD-0A06-4773-8C533205C8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5069633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3FB7C61-EABD-B9A7-5DA0-AF61826E781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4291846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FD98A73-DE7E-1ADC-579D-134A4C1CF0D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3514059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31E31B1-296C-6721-60BB-352ECFB3D1F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2736271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67E10B67-8822-7EB8-B639-8E2E1570837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1958484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0C332D0-9520-1680-A388-7649E30C8902}"/>
              </a:ext>
            </a:extLst>
          </p:cNvPr>
          <p:cNvGrpSpPr/>
          <p:nvPr/>
        </p:nvGrpSpPr>
        <p:grpSpPr>
          <a:xfrm rot="5400000">
            <a:off x="9395136" y="3116612"/>
            <a:ext cx="74291" cy="4167940"/>
            <a:chOff x="7483730" y="3514059"/>
            <a:chExt cx="88711" cy="2333361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BA88C5D7-34B5-CE88-A75D-54363181686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5847420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0D283E7B-1423-AADF-C7E3-B9337BBD56B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5069633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FCA04C4-FF8C-18AF-24AA-70A22E1AA5B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4291846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FE2BE7B-47DE-B6E5-532A-E83A98DC280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83730" y="3514059"/>
              <a:ext cx="88711" cy="0"/>
            </a:xfrm>
            <a:prstGeom prst="lin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64BCA6B4-79AB-2453-A6DC-CE464D3468E2}"/>
              </a:ext>
            </a:extLst>
          </p:cNvPr>
          <p:cNvSpPr txBox="1"/>
          <p:nvPr/>
        </p:nvSpPr>
        <p:spPr bwMode="auto">
          <a:xfrm rot="16200000">
            <a:off x="6140155" y="3546192"/>
            <a:ext cx="119629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atients (%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29AD4D3-E69C-DF78-9799-5F7A80DCFB5B}"/>
              </a:ext>
            </a:extLst>
          </p:cNvPr>
          <p:cNvSpPr txBox="1"/>
          <p:nvPr/>
        </p:nvSpPr>
        <p:spPr bwMode="auto">
          <a:xfrm>
            <a:off x="8939025" y="5157039"/>
            <a:ext cx="10483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0.8 mg/kg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C Q2W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FB67A1A-BD47-520F-82B2-84F01B140AEE}"/>
              </a:ext>
            </a:extLst>
          </p:cNvPr>
          <p:cNvSpPr txBox="1"/>
          <p:nvPr/>
        </p:nvSpPr>
        <p:spPr bwMode="auto">
          <a:xfrm>
            <a:off x="10346279" y="5157039"/>
            <a:ext cx="96885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rior TCR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AA06DEF-DEDD-F80B-22C5-8A8F464E526F}"/>
              </a:ext>
            </a:extLst>
          </p:cNvPr>
          <p:cNvGrpSpPr/>
          <p:nvPr/>
        </p:nvGrpSpPr>
        <p:grpSpPr>
          <a:xfrm>
            <a:off x="8201204" y="2007706"/>
            <a:ext cx="2488476" cy="345066"/>
            <a:chOff x="8415521" y="1836311"/>
            <a:chExt cx="2488476" cy="345066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02DE757-6EAF-1A68-3218-E98694BDACB5}"/>
                </a:ext>
              </a:extLst>
            </p:cNvPr>
            <p:cNvSpPr txBox="1"/>
            <p:nvPr/>
          </p:nvSpPr>
          <p:spPr bwMode="auto">
            <a:xfrm>
              <a:off x="8493751" y="1842554"/>
              <a:ext cx="40267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R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6E911C8-3250-8F85-FC5B-9BFAEBBACD43}"/>
                </a:ext>
              </a:extLst>
            </p:cNvPr>
            <p:cNvSpPr/>
            <p:nvPr/>
          </p:nvSpPr>
          <p:spPr bwMode="auto">
            <a:xfrm>
              <a:off x="8415521" y="1948144"/>
              <a:ext cx="122415" cy="122415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EAABC58-9343-CC7E-65EC-191D1BB047CB}"/>
                </a:ext>
              </a:extLst>
            </p:cNvPr>
            <p:cNvSpPr txBox="1"/>
            <p:nvPr/>
          </p:nvSpPr>
          <p:spPr bwMode="auto">
            <a:xfrm>
              <a:off x="9063746" y="1842554"/>
              <a:ext cx="64703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VGPR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89E0F51-7A3E-F182-8A65-A56730E74C2C}"/>
                </a:ext>
              </a:extLst>
            </p:cNvPr>
            <p:cNvSpPr/>
            <p:nvPr/>
          </p:nvSpPr>
          <p:spPr bwMode="auto">
            <a:xfrm>
              <a:off x="8985516" y="1948144"/>
              <a:ext cx="122415" cy="122415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A876E25-313B-43EA-47E3-72D3FD8D9943}"/>
                </a:ext>
              </a:extLst>
            </p:cNvPr>
            <p:cNvSpPr txBox="1"/>
            <p:nvPr/>
          </p:nvSpPr>
          <p:spPr bwMode="auto">
            <a:xfrm>
              <a:off x="9841487" y="1842823"/>
              <a:ext cx="402674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CR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D1B3E21-3E64-9AA5-79EC-DEA4831F4882}"/>
                </a:ext>
              </a:extLst>
            </p:cNvPr>
            <p:cNvSpPr/>
            <p:nvPr/>
          </p:nvSpPr>
          <p:spPr bwMode="auto">
            <a:xfrm>
              <a:off x="9763257" y="1948413"/>
              <a:ext cx="122415" cy="122415"/>
            </a:xfrm>
            <a:prstGeom prst="rect">
              <a:avLst/>
            </a:prstGeom>
            <a:solidFill>
              <a:schemeClr val="accent4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4BD5DA5B-36ED-5818-8863-22EF13967C2F}"/>
                </a:ext>
              </a:extLst>
            </p:cNvPr>
            <p:cNvSpPr txBox="1"/>
            <p:nvPr/>
          </p:nvSpPr>
          <p:spPr bwMode="auto">
            <a:xfrm>
              <a:off x="10417967" y="1836311"/>
              <a:ext cx="48603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sC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618228FB-2014-4C4A-9D21-F80FF4619745}"/>
                </a:ext>
              </a:extLst>
            </p:cNvPr>
            <p:cNvSpPr/>
            <p:nvPr/>
          </p:nvSpPr>
          <p:spPr bwMode="auto">
            <a:xfrm>
              <a:off x="10339737" y="1941901"/>
              <a:ext cx="122415" cy="122415"/>
            </a:xfrm>
            <a:prstGeom prst="rect">
              <a:avLst/>
            </a:prstGeom>
            <a:solidFill>
              <a:schemeClr val="accent6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6339F405-BB23-8428-CB5C-7A9762A569F2}"/>
              </a:ext>
            </a:extLst>
          </p:cNvPr>
          <p:cNvGrpSpPr/>
          <p:nvPr/>
        </p:nvGrpSpPr>
        <p:grpSpPr>
          <a:xfrm>
            <a:off x="9090113" y="3117163"/>
            <a:ext cx="684114" cy="2040538"/>
            <a:chOff x="12509960" y="2317824"/>
            <a:chExt cx="1428468" cy="2694086"/>
          </a:xfrm>
        </p:grpSpPr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71E616E1-A326-BB20-D7FD-7872A98B4A70}"/>
                </a:ext>
              </a:extLst>
            </p:cNvPr>
            <p:cNvSpPr/>
            <p:nvPr/>
          </p:nvSpPr>
          <p:spPr bwMode="auto">
            <a:xfrm>
              <a:off x="12509960" y="4610646"/>
              <a:ext cx="1428468" cy="401264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7B8728B-B867-1EC7-8DF6-5C43AA6C01AB}"/>
                </a:ext>
              </a:extLst>
            </p:cNvPr>
            <p:cNvSpPr/>
            <p:nvPr/>
          </p:nvSpPr>
          <p:spPr bwMode="auto">
            <a:xfrm>
              <a:off x="12509960" y="3891355"/>
              <a:ext cx="1428468" cy="72404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20C0EA2-E927-9ADC-5DD8-5504AEB69CD4}"/>
                </a:ext>
              </a:extLst>
            </p:cNvPr>
            <p:cNvSpPr/>
            <p:nvPr/>
          </p:nvSpPr>
          <p:spPr bwMode="auto">
            <a:xfrm>
              <a:off x="12509960" y="3518836"/>
              <a:ext cx="1428468" cy="378942"/>
            </a:xfrm>
            <a:prstGeom prst="rect">
              <a:avLst/>
            </a:prstGeom>
            <a:solidFill>
              <a:schemeClr val="accent4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8DF749C8-10F5-D78A-12AE-06513FD791C9}"/>
                </a:ext>
              </a:extLst>
            </p:cNvPr>
            <p:cNvSpPr/>
            <p:nvPr/>
          </p:nvSpPr>
          <p:spPr bwMode="auto">
            <a:xfrm>
              <a:off x="12509960" y="2317824"/>
              <a:ext cx="1428468" cy="1200329"/>
            </a:xfrm>
            <a:prstGeom prst="rect">
              <a:avLst/>
            </a:prstGeom>
            <a:solidFill>
              <a:schemeClr val="accent6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292AE064-3442-1E15-509C-177A62200355}"/>
              </a:ext>
            </a:extLst>
          </p:cNvPr>
          <p:cNvGrpSpPr/>
          <p:nvPr/>
        </p:nvGrpSpPr>
        <p:grpSpPr>
          <a:xfrm>
            <a:off x="10486200" y="3198925"/>
            <a:ext cx="684114" cy="1972703"/>
            <a:chOff x="12509960" y="2463155"/>
            <a:chExt cx="1428468" cy="2604525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4864C74-AD7D-82C7-025A-4C4B04481D1C}"/>
                </a:ext>
              </a:extLst>
            </p:cNvPr>
            <p:cNvSpPr/>
            <p:nvPr/>
          </p:nvSpPr>
          <p:spPr bwMode="auto">
            <a:xfrm>
              <a:off x="12509960" y="4610646"/>
              <a:ext cx="1428468" cy="457034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ED3552E-7333-F605-9A97-56F56A3429CC}"/>
                </a:ext>
              </a:extLst>
            </p:cNvPr>
            <p:cNvSpPr/>
            <p:nvPr/>
          </p:nvSpPr>
          <p:spPr bwMode="auto">
            <a:xfrm>
              <a:off x="12509960" y="4111155"/>
              <a:ext cx="1428468" cy="504246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B2924EFE-F7EB-4A85-265C-E5DC0128F2A6}"/>
                </a:ext>
              </a:extLst>
            </p:cNvPr>
            <p:cNvSpPr/>
            <p:nvPr/>
          </p:nvSpPr>
          <p:spPr bwMode="auto">
            <a:xfrm>
              <a:off x="12509960" y="3713848"/>
              <a:ext cx="1428468" cy="396625"/>
            </a:xfrm>
            <a:prstGeom prst="rect">
              <a:avLst/>
            </a:prstGeom>
            <a:solidFill>
              <a:schemeClr val="accent4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7707877-11A0-29CD-D344-F1219CC14881}"/>
                </a:ext>
              </a:extLst>
            </p:cNvPr>
            <p:cNvSpPr/>
            <p:nvPr/>
          </p:nvSpPr>
          <p:spPr bwMode="auto">
            <a:xfrm>
              <a:off x="12509960" y="2463155"/>
              <a:ext cx="1428468" cy="1250010"/>
            </a:xfrm>
            <a:prstGeom prst="rect">
              <a:avLst/>
            </a:prstGeom>
            <a:solidFill>
              <a:schemeClr val="accent6"/>
            </a:solidFill>
            <a:ln w="0">
              <a:solidFill>
                <a:schemeClr val="bg1"/>
              </a:solidFill>
              <a:miter lim="800000"/>
              <a:headEnd/>
              <a:tailEnd/>
            </a:ln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35000"/>
                </a:spcBef>
                <a:spcAft>
                  <a:spcPct val="25000"/>
                </a:spcAft>
                <a:buClr>
                  <a:srgbClr val="015873"/>
                </a:buClr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67A86967-0AD0-0E46-FFDB-F136F60777AD}"/>
              </a:ext>
            </a:extLst>
          </p:cNvPr>
          <p:cNvSpPr/>
          <p:nvPr/>
        </p:nvSpPr>
        <p:spPr bwMode="auto">
          <a:xfrm rot="10800000">
            <a:off x="9811112" y="3119247"/>
            <a:ext cx="78649" cy="1725116"/>
          </a:xfrm>
          <a:custGeom>
            <a:avLst/>
            <a:gdLst>
              <a:gd name="connsiteX0" fmla="*/ 102973 w 107092"/>
              <a:gd name="connsiteY0" fmla="*/ 0 h 308919"/>
              <a:gd name="connsiteX1" fmla="*/ 0 w 107092"/>
              <a:gd name="connsiteY1" fmla="*/ 0 h 308919"/>
              <a:gd name="connsiteX2" fmla="*/ 0 w 107092"/>
              <a:gd name="connsiteY2" fmla="*/ 308919 h 308919"/>
              <a:gd name="connsiteX3" fmla="*/ 107092 w 107092"/>
              <a:gd name="connsiteY3" fmla="*/ 308919 h 30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092" h="308919">
                <a:moveTo>
                  <a:pt x="102973" y="0"/>
                </a:moveTo>
                <a:lnTo>
                  <a:pt x="0" y="0"/>
                </a:lnTo>
                <a:lnTo>
                  <a:pt x="0" y="308919"/>
                </a:lnTo>
                <a:lnTo>
                  <a:pt x="107092" y="308919"/>
                </a:lnTo>
              </a:path>
            </a:pathLst>
          </a:custGeom>
          <a:noFill/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323B4D93-C596-31FB-A096-7494A0F29E96}"/>
              </a:ext>
            </a:extLst>
          </p:cNvPr>
          <p:cNvSpPr/>
          <p:nvPr/>
        </p:nvSpPr>
        <p:spPr bwMode="auto">
          <a:xfrm rot="10800000">
            <a:off x="11202440" y="3208232"/>
            <a:ext cx="72260" cy="1617232"/>
          </a:xfrm>
          <a:custGeom>
            <a:avLst/>
            <a:gdLst>
              <a:gd name="connsiteX0" fmla="*/ 102973 w 107092"/>
              <a:gd name="connsiteY0" fmla="*/ 0 h 308919"/>
              <a:gd name="connsiteX1" fmla="*/ 0 w 107092"/>
              <a:gd name="connsiteY1" fmla="*/ 0 h 308919"/>
              <a:gd name="connsiteX2" fmla="*/ 0 w 107092"/>
              <a:gd name="connsiteY2" fmla="*/ 308919 h 308919"/>
              <a:gd name="connsiteX3" fmla="*/ 107092 w 107092"/>
              <a:gd name="connsiteY3" fmla="*/ 308919 h 30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7092" h="308919">
                <a:moveTo>
                  <a:pt x="102973" y="0"/>
                </a:moveTo>
                <a:lnTo>
                  <a:pt x="0" y="0"/>
                </a:lnTo>
                <a:lnTo>
                  <a:pt x="0" y="308919"/>
                </a:lnTo>
                <a:lnTo>
                  <a:pt x="107092" y="308919"/>
                </a:lnTo>
              </a:path>
            </a:pathLst>
          </a:custGeom>
          <a:noFill/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15D5B07-2DDC-39DF-2955-768969CFF708}"/>
              </a:ext>
            </a:extLst>
          </p:cNvPr>
          <p:cNvSpPr txBox="1"/>
          <p:nvPr/>
        </p:nvSpPr>
        <p:spPr bwMode="auto">
          <a:xfrm>
            <a:off x="8984986" y="2580408"/>
            <a:ext cx="91082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69.5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107/154)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720AC1A-D04B-942E-B650-B86F711E331A}"/>
              </a:ext>
            </a:extLst>
          </p:cNvPr>
          <p:cNvSpPr txBox="1"/>
          <p:nvPr/>
        </p:nvSpPr>
        <p:spPr bwMode="auto">
          <a:xfrm>
            <a:off x="10464215" y="2685011"/>
            <a:ext cx="72808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66.7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52/78)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CC872DEB-75BB-0E00-2F32-F0A78F750D2F}"/>
              </a:ext>
            </a:extLst>
          </p:cNvPr>
          <p:cNvSpPr txBox="1"/>
          <p:nvPr/>
        </p:nvSpPr>
        <p:spPr bwMode="auto">
          <a:xfrm>
            <a:off x="9718167" y="3743007"/>
            <a:ext cx="9575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≥ VGPR: 59.1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F98BCA7-F22C-76BA-657E-1232B9174EC0}"/>
              </a:ext>
            </a:extLst>
          </p:cNvPr>
          <p:cNvSpPr txBox="1"/>
          <p:nvPr/>
        </p:nvSpPr>
        <p:spPr bwMode="auto">
          <a:xfrm>
            <a:off x="11204464" y="3729923"/>
            <a:ext cx="80480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≥ VGPR: 55.1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6DE7C96-A43B-B54A-B5C2-C480F0A0DD20}"/>
              </a:ext>
            </a:extLst>
          </p:cNvPr>
          <p:cNvSpPr/>
          <p:nvPr/>
        </p:nvSpPr>
        <p:spPr bwMode="auto">
          <a:xfrm>
            <a:off x="7349525" y="2221820"/>
            <a:ext cx="4182362" cy="2944430"/>
          </a:xfrm>
          <a:custGeom>
            <a:avLst/>
            <a:gdLst>
              <a:gd name="connsiteX0" fmla="*/ 0 w 2872946"/>
              <a:gd name="connsiteY0" fmla="*/ 0 h 3725563"/>
              <a:gd name="connsiteX1" fmla="*/ 0 w 2872946"/>
              <a:gd name="connsiteY1" fmla="*/ 3725563 h 3725563"/>
              <a:gd name="connsiteX2" fmla="*/ 2872946 w 2872946"/>
              <a:gd name="connsiteY2" fmla="*/ 3725563 h 3725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2946" h="3725563">
                <a:moveTo>
                  <a:pt x="0" y="0"/>
                </a:moveTo>
                <a:lnTo>
                  <a:pt x="0" y="3725563"/>
                </a:lnTo>
                <a:lnTo>
                  <a:pt x="2872946" y="3725563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7347717D-4017-E400-AEA6-2C009F31F923}"/>
              </a:ext>
            </a:extLst>
          </p:cNvPr>
          <p:cNvSpPr txBox="1"/>
          <p:nvPr/>
        </p:nvSpPr>
        <p:spPr bwMode="auto">
          <a:xfrm>
            <a:off x="9171918" y="3434670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1.2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6951E1E3-6D99-9793-2129-620CDB855DF1}"/>
              </a:ext>
            </a:extLst>
          </p:cNvPr>
          <p:cNvSpPr txBox="1"/>
          <p:nvPr/>
        </p:nvSpPr>
        <p:spPr bwMode="auto">
          <a:xfrm>
            <a:off x="9208497" y="4014792"/>
            <a:ext cx="41229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9.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B0BF7E7-EB49-B062-9E2B-4C73213A0A06}"/>
              </a:ext>
            </a:extLst>
          </p:cNvPr>
          <p:cNvSpPr txBox="1"/>
          <p:nvPr/>
        </p:nvSpPr>
        <p:spPr bwMode="auto">
          <a:xfrm>
            <a:off x="9167054" y="4455214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8.8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212389D-04F1-6A26-7C73-5E0E7666D7BA}"/>
              </a:ext>
            </a:extLst>
          </p:cNvPr>
          <p:cNvSpPr txBox="1"/>
          <p:nvPr/>
        </p:nvSpPr>
        <p:spPr bwMode="auto">
          <a:xfrm>
            <a:off x="9173946" y="4856619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0.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8A36EB00-0034-2606-2BB3-02DB618A8919}"/>
              </a:ext>
            </a:extLst>
          </p:cNvPr>
          <p:cNvSpPr txBox="1"/>
          <p:nvPr/>
        </p:nvSpPr>
        <p:spPr bwMode="auto">
          <a:xfrm>
            <a:off x="10579961" y="3543345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32.1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A6E9BBB-5E11-4D31-C853-53FA8E1F53FC}"/>
              </a:ext>
            </a:extLst>
          </p:cNvPr>
          <p:cNvSpPr txBox="1"/>
          <p:nvPr/>
        </p:nvSpPr>
        <p:spPr bwMode="auto">
          <a:xfrm>
            <a:off x="10570854" y="4141257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0.3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F517D74-35F6-3613-4158-581E95473455}"/>
              </a:ext>
            </a:extLst>
          </p:cNvPr>
          <p:cNvSpPr txBox="1"/>
          <p:nvPr/>
        </p:nvSpPr>
        <p:spPr bwMode="auto">
          <a:xfrm>
            <a:off x="10575096" y="4490895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2.8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581DD0D6-830A-A02E-C98C-C6BF468DA1A5}"/>
              </a:ext>
            </a:extLst>
          </p:cNvPr>
          <p:cNvSpPr txBox="1"/>
          <p:nvPr/>
        </p:nvSpPr>
        <p:spPr bwMode="auto">
          <a:xfrm>
            <a:off x="10581989" y="4848688"/>
            <a:ext cx="5036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1.5</a:t>
            </a:r>
          </a:p>
        </p:txBody>
      </p:sp>
    </p:spTree>
    <p:extLst>
      <p:ext uri="{BB962C8B-B14F-4D97-AF65-F5344CB8AC3E}">
        <p14:creationId xmlns:p14="http://schemas.microsoft.com/office/powerpoint/2010/main" val="18804774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4E76D-C468-5E4F-5F69-ADCAFEDDA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C00000"/>
                </a:solidFill>
              </a:rPr>
              <a:t>MonumenTAL-1: Updated </a:t>
            </a:r>
            <a:r>
              <a:rPr lang="en-US" sz="4400" dirty="0" err="1">
                <a:solidFill>
                  <a:srgbClr val="C00000"/>
                </a:solidFill>
              </a:rPr>
              <a:t>DoR</a:t>
            </a:r>
            <a:r>
              <a:rPr lang="en-US" sz="4400" dirty="0">
                <a:solidFill>
                  <a:srgbClr val="C00000"/>
                </a:solidFill>
              </a:rPr>
              <a:t> and Survival Outcomes </a:t>
            </a:r>
            <a:endParaRPr lang="en-US" dirty="0"/>
          </a:p>
        </p:txBody>
      </p:sp>
      <p:graphicFrame>
        <p:nvGraphicFramePr>
          <p:cNvPr id="4" name="Group 3">
            <a:extLst>
              <a:ext uri="{FF2B5EF4-FFF2-40B4-BE49-F238E27FC236}">
                <a16:creationId xmlns:a16="http://schemas.microsoft.com/office/drawing/2014/main" id="{F3DC7CDC-3997-A284-941A-DCC16BF893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5694936"/>
              </p:ext>
            </p:extLst>
          </p:nvPr>
        </p:nvGraphicFramePr>
        <p:xfrm>
          <a:off x="235109" y="2272977"/>
          <a:ext cx="5712304" cy="2895680"/>
        </p:xfrm>
        <a:graphic>
          <a:graphicData uri="http://schemas.openxmlformats.org/drawingml/2006/table">
            <a:tbl>
              <a:tblPr/>
              <a:tblGrid>
                <a:gridCol w="13476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91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8693">
                  <a:extLst>
                    <a:ext uri="{9D8B030D-6E8A-4147-A177-3AD203B41FA5}">
                      <a16:colId xmlns:a16="http://schemas.microsoft.com/office/drawing/2014/main" val="2460631029"/>
                    </a:ext>
                  </a:extLst>
                </a:gridCol>
                <a:gridCol w="1386847">
                  <a:extLst>
                    <a:ext uri="{9D8B030D-6E8A-4147-A177-3AD203B41FA5}">
                      <a16:colId xmlns:a16="http://schemas.microsoft.com/office/drawing/2014/main" val="371560156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utcome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.4 mg/kg Q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n = 143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.8 mg/kg Q2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n = 154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ior T-Cell Redirection Tx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n = 78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8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dian f/u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.8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.4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.5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7691923"/>
                  </a:ext>
                </a:extLst>
              </a:tr>
              <a:tr h="1888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dian DoR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95% CI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.5 (6.7-13.4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.5 (12.5-NE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dian PFS, </a:t>
                      </a: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o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(95% CI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.5 (5.7-9.4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 (8.4-14.6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.7 (4.1-14.5)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-Mo OS, %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.6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.1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.3</a:t>
                      </a:r>
                    </a:p>
                  </a:txBody>
                  <a:tcPr marL="121699" marR="121699" marT="45728" marB="4572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7541726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6D231371-4146-7ECA-C839-B6C2DD6C0924}"/>
              </a:ext>
            </a:extLst>
          </p:cNvPr>
          <p:cNvGrpSpPr/>
          <p:nvPr/>
        </p:nvGrpSpPr>
        <p:grpSpPr>
          <a:xfrm>
            <a:off x="5882504" y="1745421"/>
            <a:ext cx="6036120" cy="4165547"/>
            <a:chOff x="10749" y="1577469"/>
            <a:chExt cx="6036120" cy="416554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6A4224C-CA5C-038E-DC84-16EF3BA7CB69}"/>
                </a:ext>
              </a:extLst>
            </p:cNvPr>
            <p:cNvSpPr txBox="1"/>
            <p:nvPr/>
          </p:nvSpPr>
          <p:spPr bwMode="auto">
            <a:xfrm>
              <a:off x="2598336" y="1577469"/>
              <a:ext cx="308481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DoR in 0.8 mg/kg Q2W Cohort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EB7EC8A-4F22-64F3-15A0-2BBFE361A4FD}"/>
                </a:ext>
              </a:extLst>
            </p:cNvPr>
            <p:cNvSpPr txBox="1"/>
            <p:nvPr/>
          </p:nvSpPr>
          <p:spPr bwMode="auto">
            <a:xfrm rot="16200000">
              <a:off x="-68330" y="3102465"/>
              <a:ext cx="252094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atients in Response (%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737054C-E18F-3A87-AFA4-4A042456F3BF}"/>
                </a:ext>
              </a:extLst>
            </p:cNvPr>
            <p:cNvSpPr txBox="1"/>
            <p:nvPr/>
          </p:nvSpPr>
          <p:spPr bwMode="auto">
            <a:xfrm>
              <a:off x="3500927" y="4750806"/>
              <a:ext cx="51007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o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395DE36-37F4-2BE5-EF58-521C5125725D}"/>
                </a:ext>
              </a:extLst>
            </p:cNvPr>
            <p:cNvGrpSpPr/>
            <p:nvPr/>
          </p:nvGrpSpPr>
          <p:grpSpPr>
            <a:xfrm>
              <a:off x="1640866" y="4525795"/>
              <a:ext cx="4406003" cy="369332"/>
              <a:chOff x="3196054" y="3887544"/>
              <a:chExt cx="4406003" cy="369332"/>
            </a:xfrm>
          </p:grpSpPr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BE449DE4-0026-2B2A-5218-9EDDE30A5224}"/>
                  </a:ext>
                </a:extLst>
              </p:cNvPr>
              <p:cNvSpPr txBox="1"/>
              <p:nvPr/>
            </p:nvSpPr>
            <p:spPr bwMode="auto">
              <a:xfrm>
                <a:off x="3196054" y="3887544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186" name="TextBox 185">
                <a:extLst>
                  <a:ext uri="{FF2B5EF4-FFF2-40B4-BE49-F238E27FC236}">
                    <a16:creationId xmlns:a16="http://schemas.microsoft.com/office/drawing/2014/main" id="{AC1B47E3-9375-A40E-D45F-50DF7275BD36}"/>
                  </a:ext>
                </a:extLst>
              </p:cNvPr>
              <p:cNvSpPr txBox="1"/>
              <p:nvPr/>
            </p:nvSpPr>
            <p:spPr bwMode="auto">
              <a:xfrm>
                <a:off x="3567291" y="3887544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9F6C6688-1FB7-E73E-1ED1-6F3175334979}"/>
                  </a:ext>
                </a:extLst>
              </p:cNvPr>
              <p:cNvSpPr txBox="1"/>
              <p:nvPr/>
            </p:nvSpPr>
            <p:spPr bwMode="auto">
              <a:xfrm>
                <a:off x="3928644" y="3887544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6</a:t>
                </a:r>
              </a:p>
            </p:txBody>
          </p:sp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E4F47BA0-A695-8B4B-E0D4-F1BC18D3AEA7}"/>
                  </a:ext>
                </a:extLst>
              </p:cNvPr>
              <p:cNvSpPr txBox="1"/>
              <p:nvPr/>
            </p:nvSpPr>
            <p:spPr bwMode="auto">
              <a:xfrm>
                <a:off x="4299881" y="3887544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9</a:t>
                </a:r>
              </a:p>
            </p:txBody>
          </p:sp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B4A70F07-70B1-0592-548E-3C0B56FE3A77}"/>
                  </a:ext>
                </a:extLst>
              </p:cNvPr>
              <p:cNvSpPr txBox="1"/>
              <p:nvPr/>
            </p:nvSpPr>
            <p:spPr bwMode="auto">
              <a:xfrm>
                <a:off x="4609882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2</a:t>
                </a:r>
              </a:p>
            </p:txBody>
          </p:sp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CE022515-6B85-F7F6-14D3-656231474AC4}"/>
                  </a:ext>
                </a:extLst>
              </p:cNvPr>
              <p:cNvSpPr txBox="1"/>
              <p:nvPr/>
            </p:nvSpPr>
            <p:spPr bwMode="auto">
              <a:xfrm>
                <a:off x="4981119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5</a:t>
                </a: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FA26CD06-42BE-9BCF-5399-D1AA0E0AFD91}"/>
                  </a:ext>
                </a:extLst>
              </p:cNvPr>
              <p:cNvSpPr txBox="1"/>
              <p:nvPr/>
            </p:nvSpPr>
            <p:spPr bwMode="auto">
              <a:xfrm>
                <a:off x="5342472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8</a:t>
                </a:r>
              </a:p>
            </p:txBody>
          </p:sp>
          <p:sp>
            <p:nvSpPr>
              <p:cNvPr id="192" name="TextBox 191">
                <a:extLst>
                  <a:ext uri="{FF2B5EF4-FFF2-40B4-BE49-F238E27FC236}">
                    <a16:creationId xmlns:a16="http://schemas.microsoft.com/office/drawing/2014/main" id="{B48989D1-37EF-08FD-3840-74EFE63718E0}"/>
                  </a:ext>
                </a:extLst>
              </p:cNvPr>
              <p:cNvSpPr txBox="1"/>
              <p:nvPr/>
            </p:nvSpPr>
            <p:spPr bwMode="auto">
              <a:xfrm>
                <a:off x="5713709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1</a:t>
                </a:r>
              </a:p>
            </p:txBody>
          </p:sp>
          <p:sp>
            <p:nvSpPr>
              <p:cNvPr id="193" name="TextBox 192">
                <a:extLst>
                  <a:ext uri="{FF2B5EF4-FFF2-40B4-BE49-F238E27FC236}">
                    <a16:creationId xmlns:a16="http://schemas.microsoft.com/office/drawing/2014/main" id="{C7F25E76-21D3-0F2D-26B8-2D12B7BF7354}"/>
                  </a:ext>
                </a:extLst>
              </p:cNvPr>
              <p:cNvSpPr txBox="1"/>
              <p:nvPr/>
            </p:nvSpPr>
            <p:spPr bwMode="auto">
              <a:xfrm>
                <a:off x="6079526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4</a:t>
                </a:r>
              </a:p>
            </p:txBody>
          </p: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2D7E0AC3-7BA6-1348-71AE-F4AFDDE0E850}"/>
                  </a:ext>
                </a:extLst>
              </p:cNvPr>
              <p:cNvSpPr txBox="1"/>
              <p:nvPr/>
            </p:nvSpPr>
            <p:spPr bwMode="auto">
              <a:xfrm>
                <a:off x="6450763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7</a:t>
                </a:r>
              </a:p>
            </p:txBody>
          </p:sp>
          <p:sp>
            <p:nvSpPr>
              <p:cNvPr id="195" name="TextBox 194">
                <a:extLst>
                  <a:ext uri="{FF2B5EF4-FFF2-40B4-BE49-F238E27FC236}">
                    <a16:creationId xmlns:a16="http://schemas.microsoft.com/office/drawing/2014/main" id="{AB71E271-C0B9-506E-098D-18D14C3870F1}"/>
                  </a:ext>
                </a:extLst>
              </p:cNvPr>
              <p:cNvSpPr txBox="1"/>
              <p:nvPr/>
            </p:nvSpPr>
            <p:spPr bwMode="auto">
              <a:xfrm>
                <a:off x="6812116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21F4FC7A-D1FB-527D-4FA3-4BBDC3916BA5}"/>
                  </a:ext>
                </a:extLst>
              </p:cNvPr>
              <p:cNvSpPr txBox="1"/>
              <p:nvPr/>
            </p:nvSpPr>
            <p:spPr bwMode="auto">
              <a:xfrm>
                <a:off x="7183353" y="388754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33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F4FFC3C-2340-5C60-F5BB-5D7A9AE09455}"/>
                </a:ext>
              </a:extLst>
            </p:cNvPr>
            <p:cNvGrpSpPr/>
            <p:nvPr/>
          </p:nvGrpSpPr>
          <p:grpSpPr>
            <a:xfrm>
              <a:off x="1200588" y="1947016"/>
              <a:ext cx="535724" cy="2815484"/>
              <a:chOff x="2744517" y="1682483"/>
              <a:chExt cx="535724" cy="2358216"/>
            </a:xfrm>
          </p:grpSpPr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9D4B8E13-A2ED-8CFC-F650-BDD812FE8D3C}"/>
                  </a:ext>
                </a:extLst>
              </p:cNvPr>
              <p:cNvSpPr txBox="1"/>
              <p:nvPr/>
            </p:nvSpPr>
            <p:spPr bwMode="auto">
              <a:xfrm>
                <a:off x="2978555" y="3671367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1B632DDD-7EE0-731D-CC55-E5F48040E692}"/>
                  </a:ext>
                </a:extLst>
              </p:cNvPr>
              <p:cNvSpPr txBox="1"/>
              <p:nvPr/>
            </p:nvSpPr>
            <p:spPr bwMode="auto">
              <a:xfrm>
                <a:off x="2861537" y="3270524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1E818BF1-C8E2-9425-1E13-46CE6A21DFAC}"/>
                  </a:ext>
                </a:extLst>
              </p:cNvPr>
              <p:cNvSpPr txBox="1"/>
              <p:nvPr/>
            </p:nvSpPr>
            <p:spPr bwMode="auto">
              <a:xfrm>
                <a:off x="2861537" y="2869681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46E3B04D-9C1B-13B8-E4E5-FB4B2A31AF82}"/>
                  </a:ext>
                </a:extLst>
              </p:cNvPr>
              <p:cNvSpPr txBox="1"/>
              <p:nvPr/>
            </p:nvSpPr>
            <p:spPr bwMode="auto">
              <a:xfrm>
                <a:off x="2861537" y="2468838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60</a:t>
                </a:r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F105CE75-E26B-70A0-CF3F-F722635FA19A}"/>
                  </a:ext>
                </a:extLst>
              </p:cNvPr>
              <p:cNvSpPr txBox="1"/>
              <p:nvPr/>
            </p:nvSpPr>
            <p:spPr bwMode="auto">
              <a:xfrm>
                <a:off x="2861537" y="2083326"/>
                <a:ext cx="41870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80</a:t>
                </a:r>
              </a:p>
            </p:txBody>
          </p:sp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82DA101A-0BBC-5565-6F79-05096DA1DE88}"/>
                  </a:ext>
                </a:extLst>
              </p:cNvPr>
              <p:cNvSpPr txBox="1"/>
              <p:nvPr/>
            </p:nvSpPr>
            <p:spPr bwMode="auto">
              <a:xfrm>
                <a:off x="2744517" y="1682483"/>
                <a:ext cx="535724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00</a:t>
                </a:r>
              </a:p>
            </p:txBody>
          </p:sp>
        </p:grpSp>
        <p:sp>
          <p:nvSpPr>
            <p:cNvPr id="11" name="Freeform: Shape 36">
              <a:extLst>
                <a:ext uri="{FF2B5EF4-FFF2-40B4-BE49-F238E27FC236}">
                  <a16:creationId xmlns:a16="http://schemas.microsoft.com/office/drawing/2014/main" id="{81C644E9-74FF-D44F-05F7-C4652AEEF4DD}"/>
                </a:ext>
              </a:extLst>
            </p:cNvPr>
            <p:cNvSpPr/>
            <p:nvPr/>
          </p:nvSpPr>
          <p:spPr bwMode="auto">
            <a:xfrm>
              <a:off x="1789426" y="2070100"/>
              <a:ext cx="4160524" cy="2419349"/>
            </a:xfrm>
            <a:custGeom>
              <a:avLst/>
              <a:gdLst>
                <a:gd name="connsiteX0" fmla="*/ 0 w 6089650"/>
                <a:gd name="connsiteY0" fmla="*/ 0 h 2044700"/>
                <a:gd name="connsiteX1" fmla="*/ 0 w 6089650"/>
                <a:gd name="connsiteY1" fmla="*/ 2044700 h 2044700"/>
                <a:gd name="connsiteX2" fmla="*/ 6089650 w 6089650"/>
                <a:gd name="connsiteY2" fmla="*/ 2044700 h 2044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089650" h="2044700">
                  <a:moveTo>
                    <a:pt x="0" y="0"/>
                  </a:moveTo>
                  <a:lnTo>
                    <a:pt x="0" y="2044700"/>
                  </a:lnTo>
                  <a:lnTo>
                    <a:pt x="6089650" y="2044700"/>
                  </a:lnTo>
                </a:path>
              </a:pathLst>
            </a:cu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A7B0425-5BA4-D5C5-E9D0-98CD33D2E13B}"/>
                </a:ext>
              </a:extLst>
            </p:cNvPr>
            <p:cNvGrpSpPr/>
            <p:nvPr/>
          </p:nvGrpSpPr>
          <p:grpSpPr>
            <a:xfrm>
              <a:off x="1688220" y="2111122"/>
              <a:ext cx="112465" cy="2371977"/>
              <a:chOff x="3187949" y="1846590"/>
              <a:chExt cx="368300" cy="2003812"/>
            </a:xfrm>
          </p:grpSpPr>
          <p:cxnSp>
            <p:nvCxnSpPr>
              <p:cNvPr id="173" name="Straight Connector 172">
                <a:extLst>
                  <a:ext uri="{FF2B5EF4-FFF2-40B4-BE49-F238E27FC236}">
                    <a16:creationId xmlns:a16="http://schemas.microsoft.com/office/drawing/2014/main" id="{7A078114-5518-FC73-3BFF-C6F84DEFB19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87949" y="1846590"/>
                <a:ext cx="368300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4" name="Straight Connector 173">
                <a:extLst>
                  <a:ext uri="{FF2B5EF4-FFF2-40B4-BE49-F238E27FC236}">
                    <a16:creationId xmlns:a16="http://schemas.microsoft.com/office/drawing/2014/main" id="{1276FAFD-229B-CFD0-E49C-5A4CE8BB264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87949" y="2247352"/>
                <a:ext cx="3683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5" name="Straight Connector 174">
                <a:extLst>
                  <a:ext uri="{FF2B5EF4-FFF2-40B4-BE49-F238E27FC236}">
                    <a16:creationId xmlns:a16="http://schemas.microsoft.com/office/drawing/2014/main" id="{C1ABF448-31EC-5AB5-8559-BC2E7B01B52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87949" y="2648114"/>
                <a:ext cx="3683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6" name="Straight Connector 175">
                <a:extLst>
                  <a:ext uri="{FF2B5EF4-FFF2-40B4-BE49-F238E27FC236}">
                    <a16:creationId xmlns:a16="http://schemas.microsoft.com/office/drawing/2014/main" id="{BE8DF13C-18B9-1B65-BA46-54CB716B900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87949" y="3048876"/>
                <a:ext cx="3683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7" name="Straight Connector 176">
                <a:extLst>
                  <a:ext uri="{FF2B5EF4-FFF2-40B4-BE49-F238E27FC236}">
                    <a16:creationId xmlns:a16="http://schemas.microsoft.com/office/drawing/2014/main" id="{B4A02B3A-4273-D0B9-6D6B-173BE80FA1F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87949" y="3449638"/>
                <a:ext cx="3683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1A5620B7-3F9A-BAB3-CAF1-3121C697332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3187949" y="3850402"/>
                <a:ext cx="3683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5170BC2-D63E-1117-8831-80D917326B89}"/>
                </a:ext>
              </a:extLst>
            </p:cNvPr>
            <p:cNvGrpSpPr/>
            <p:nvPr/>
          </p:nvGrpSpPr>
          <p:grpSpPr>
            <a:xfrm>
              <a:off x="1789426" y="4486320"/>
              <a:ext cx="4037846" cy="101600"/>
              <a:chOff x="3344614" y="3848100"/>
              <a:chExt cx="4037846" cy="101600"/>
            </a:xfrm>
          </p:grpSpPr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86DDB6C0-D71E-4220-5136-15B115C041FF}"/>
                  </a:ext>
                </a:extLst>
              </p:cNvPr>
              <p:cNvGrpSpPr/>
              <p:nvPr/>
            </p:nvGrpSpPr>
            <p:grpSpPr>
              <a:xfrm rot="5400000">
                <a:off x="4209132" y="2983582"/>
                <a:ext cx="101600" cy="1830636"/>
                <a:chOff x="3187949" y="1846590"/>
                <a:chExt cx="368300" cy="2003812"/>
              </a:xfrm>
            </p:grpSpPr>
            <p:cxnSp>
              <p:nvCxnSpPr>
                <p:cNvPr id="167" name="Straight Connector 166">
                  <a:extLst>
                    <a:ext uri="{FF2B5EF4-FFF2-40B4-BE49-F238E27FC236}">
                      <a16:creationId xmlns:a16="http://schemas.microsoft.com/office/drawing/2014/main" id="{168F944C-1645-BCE5-8826-5280ED81D04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1846590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8" name="Straight Connector 167">
                  <a:extLst>
                    <a:ext uri="{FF2B5EF4-FFF2-40B4-BE49-F238E27FC236}">
                      <a16:creationId xmlns:a16="http://schemas.microsoft.com/office/drawing/2014/main" id="{9F55CF50-077B-3DEE-7626-C91B52F3070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2247352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9" name="Straight Connector 168">
                  <a:extLst>
                    <a:ext uri="{FF2B5EF4-FFF2-40B4-BE49-F238E27FC236}">
                      <a16:creationId xmlns:a16="http://schemas.microsoft.com/office/drawing/2014/main" id="{4B09FECA-6193-2552-746B-1E3796BEB5C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2648114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0" name="Straight Connector 169">
                  <a:extLst>
                    <a:ext uri="{FF2B5EF4-FFF2-40B4-BE49-F238E27FC236}">
                      <a16:creationId xmlns:a16="http://schemas.microsoft.com/office/drawing/2014/main" id="{E6A33F85-F0D2-F16A-D729-2D608682E4A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3048876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1" name="Straight Connector 170">
                  <a:extLst>
                    <a:ext uri="{FF2B5EF4-FFF2-40B4-BE49-F238E27FC236}">
                      <a16:creationId xmlns:a16="http://schemas.microsoft.com/office/drawing/2014/main" id="{CC3BE89F-46B0-A010-3CA3-2BA287C548A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3449638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2" name="Straight Connector 171">
                  <a:extLst>
                    <a:ext uri="{FF2B5EF4-FFF2-40B4-BE49-F238E27FC236}">
                      <a16:creationId xmlns:a16="http://schemas.microsoft.com/office/drawing/2014/main" id="{FD135240-2F0D-A63D-983C-0CEB88F6BD0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3850402"/>
                  <a:ext cx="368300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6B4D4629-0EFB-56F7-4C26-03592D1D0CD2}"/>
                  </a:ext>
                </a:extLst>
              </p:cNvPr>
              <p:cNvGrpSpPr/>
              <p:nvPr/>
            </p:nvGrpSpPr>
            <p:grpSpPr>
              <a:xfrm rot="5400000">
                <a:off x="6416342" y="2983582"/>
                <a:ext cx="101600" cy="1830636"/>
                <a:chOff x="3187949" y="1846590"/>
                <a:chExt cx="368300" cy="2003812"/>
              </a:xfrm>
            </p:grpSpPr>
            <p:cxnSp>
              <p:nvCxnSpPr>
                <p:cNvPr id="161" name="Straight Connector 160">
                  <a:extLst>
                    <a:ext uri="{FF2B5EF4-FFF2-40B4-BE49-F238E27FC236}">
                      <a16:creationId xmlns:a16="http://schemas.microsoft.com/office/drawing/2014/main" id="{E8886536-E7A5-27F4-4F9C-FB123CC95C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1846590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2" name="Straight Connector 161">
                  <a:extLst>
                    <a:ext uri="{FF2B5EF4-FFF2-40B4-BE49-F238E27FC236}">
                      <a16:creationId xmlns:a16="http://schemas.microsoft.com/office/drawing/2014/main" id="{8DFCA55C-49AC-62B2-6156-4AEF464C25E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2247352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41E887AA-357E-353A-2DED-7E137C3178A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2648114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4" name="Straight Connector 163">
                  <a:extLst>
                    <a:ext uri="{FF2B5EF4-FFF2-40B4-BE49-F238E27FC236}">
                      <a16:creationId xmlns:a16="http://schemas.microsoft.com/office/drawing/2014/main" id="{E10CF330-6F24-1AAE-7E36-640970722B1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3048876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AAA10BF7-75BF-80E5-29AC-A3E1E47263C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3449638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6" name="Straight Connector 165">
                  <a:extLst>
                    <a:ext uri="{FF2B5EF4-FFF2-40B4-BE49-F238E27FC236}">
                      <a16:creationId xmlns:a16="http://schemas.microsoft.com/office/drawing/2014/main" id="{54F7136B-1E51-55AF-DAB0-B705908798F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187949" y="3850402"/>
                  <a:ext cx="3683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BEF9FF3-564C-EDDA-A299-549198312CDE}"/>
                </a:ext>
              </a:extLst>
            </p:cNvPr>
            <p:cNvGrpSpPr/>
            <p:nvPr/>
          </p:nvGrpSpPr>
          <p:grpSpPr>
            <a:xfrm>
              <a:off x="1608005" y="5004352"/>
              <a:ext cx="4367531" cy="738664"/>
              <a:chOff x="3163193" y="3887544"/>
              <a:chExt cx="4367531" cy="738664"/>
            </a:xfrm>
          </p:grpSpPr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F3D229A5-C1E6-FE51-D38F-5E3AC02AA06E}"/>
                  </a:ext>
                </a:extLst>
              </p:cNvPr>
              <p:cNvSpPr txBox="1"/>
              <p:nvPr/>
            </p:nvSpPr>
            <p:spPr bwMode="auto">
              <a:xfrm>
                <a:off x="3163193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6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9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62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0EEF3AF5-39E6-252F-8097-FCA45AEF2737}"/>
                  </a:ext>
                </a:extLst>
              </p:cNvPr>
              <p:cNvSpPr txBox="1"/>
              <p:nvPr/>
            </p:nvSpPr>
            <p:spPr bwMode="auto">
              <a:xfrm>
                <a:off x="3534430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7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4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61</a:t>
                </a: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8B0C050E-2DDA-8611-14D7-13572977C3E9}"/>
                  </a:ext>
                </a:extLst>
              </p:cNvPr>
              <p:cNvSpPr txBox="1"/>
              <p:nvPr/>
            </p:nvSpPr>
            <p:spPr bwMode="auto">
              <a:xfrm>
                <a:off x="3895783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3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1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59</a:t>
                </a: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CBEC202B-EE46-6F0E-D7F6-54D74F090406}"/>
                  </a:ext>
                </a:extLst>
              </p:cNvPr>
              <p:cNvSpPr txBox="1"/>
              <p:nvPr/>
            </p:nvSpPr>
            <p:spPr bwMode="auto">
              <a:xfrm>
                <a:off x="4267020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4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56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4E8912F3-407E-9A68-741B-D22B0326D208}"/>
                  </a:ext>
                </a:extLst>
              </p:cNvPr>
              <p:cNvSpPr txBox="1"/>
              <p:nvPr/>
            </p:nvSpPr>
            <p:spPr bwMode="auto">
              <a:xfrm>
                <a:off x="4635530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7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50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D842BCF3-82E5-4CEE-9554-9B92B7A65B54}"/>
                  </a:ext>
                </a:extLst>
              </p:cNvPr>
              <p:cNvSpPr txBox="1"/>
              <p:nvPr/>
            </p:nvSpPr>
            <p:spPr bwMode="auto">
              <a:xfrm>
                <a:off x="5006767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6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46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EADB6B03-35CD-CB1D-5043-2D4FE174A193}"/>
                  </a:ext>
                </a:extLst>
              </p:cNvPr>
              <p:cNvSpPr txBox="1"/>
              <p:nvPr/>
            </p:nvSpPr>
            <p:spPr bwMode="auto">
              <a:xfrm>
                <a:off x="5368120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5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39</a:t>
                </a: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B86AAB62-37F8-0D08-F373-BBE99D9C9E43}"/>
                  </a:ext>
                </a:extLst>
              </p:cNvPr>
              <p:cNvSpPr txBox="1"/>
              <p:nvPr/>
            </p:nvSpPr>
            <p:spPr bwMode="auto">
              <a:xfrm>
                <a:off x="5739357" y="3887544"/>
                <a:ext cx="36740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4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24</a:t>
                </a: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12ADDA6F-FE32-8564-5809-E081B1B14EAC}"/>
                  </a:ext>
                </a:extLst>
              </p:cNvPr>
              <p:cNvSpPr txBox="1"/>
              <p:nvPr/>
            </p:nvSpPr>
            <p:spPr bwMode="auto">
              <a:xfrm>
                <a:off x="6150859" y="3887544"/>
                <a:ext cx="27603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9</a:t>
                </a: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912A0F71-21AB-B4FF-4B84-3F5990FE49CA}"/>
                  </a:ext>
                </a:extLst>
              </p:cNvPr>
              <p:cNvSpPr txBox="1"/>
              <p:nvPr/>
            </p:nvSpPr>
            <p:spPr bwMode="auto">
              <a:xfrm>
                <a:off x="6522096" y="3887544"/>
                <a:ext cx="27603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4</a:t>
                </a: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2E999348-76AB-259D-9E1A-2C6865AB4271}"/>
                  </a:ext>
                </a:extLst>
              </p:cNvPr>
              <p:cNvSpPr txBox="1"/>
              <p:nvPr/>
            </p:nvSpPr>
            <p:spPr bwMode="auto">
              <a:xfrm>
                <a:off x="6883449" y="3887544"/>
                <a:ext cx="27603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50F7E5C7-7AD4-7E1B-20D6-3E6065C61937}"/>
                  </a:ext>
                </a:extLst>
              </p:cNvPr>
              <p:cNvSpPr txBox="1"/>
              <p:nvPr/>
            </p:nvSpPr>
            <p:spPr bwMode="auto">
              <a:xfrm>
                <a:off x="7254686" y="3887544"/>
                <a:ext cx="276038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F557573-36FE-F765-A55E-0C4C85966AC0}"/>
                </a:ext>
              </a:extLst>
            </p:cNvPr>
            <p:cNvSpPr txBox="1"/>
            <p:nvPr/>
          </p:nvSpPr>
          <p:spPr bwMode="auto">
            <a:xfrm>
              <a:off x="10749" y="4788909"/>
              <a:ext cx="1726114" cy="9541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ts at Risk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est response: PR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est response: VGPR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823B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est response: ≥ CR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3E97EC9-75F3-4A73-F140-0CB3B82959EA}"/>
                </a:ext>
              </a:extLst>
            </p:cNvPr>
            <p:cNvGrpSpPr/>
            <p:nvPr/>
          </p:nvGrpSpPr>
          <p:grpSpPr>
            <a:xfrm>
              <a:off x="3961993" y="1983147"/>
              <a:ext cx="2082279" cy="738664"/>
              <a:chOff x="3961993" y="1983147"/>
              <a:chExt cx="2082279" cy="738664"/>
            </a:xfrm>
          </p:grpSpPr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04C2113C-5ED7-AE8C-6157-BA491345297A}"/>
                  </a:ext>
                </a:extLst>
              </p:cNvPr>
              <p:cNvSpPr txBox="1"/>
              <p:nvPr/>
            </p:nvSpPr>
            <p:spPr bwMode="auto">
              <a:xfrm>
                <a:off x="4318158" y="1983147"/>
                <a:ext cx="1726114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Best response: P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Best response: VGP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Arial" panose="020B0604020202020204" pitchFamily="34" charset="0"/>
                  </a:rPr>
                  <a:t>Best response: ≥ CR</a:t>
                </a:r>
              </a:p>
            </p:txBody>
          </p: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07356A97-6E9F-DDDB-821B-6F7ED1DD33A8}"/>
                  </a:ext>
                </a:extLst>
              </p:cNvPr>
              <p:cNvGrpSpPr/>
              <p:nvPr/>
            </p:nvGrpSpPr>
            <p:grpSpPr>
              <a:xfrm>
                <a:off x="3961993" y="2089398"/>
                <a:ext cx="393056" cy="104158"/>
                <a:chOff x="3932853" y="2089398"/>
                <a:chExt cx="393056" cy="104158"/>
              </a:xfrm>
            </p:grpSpPr>
            <p:cxnSp>
              <p:nvCxnSpPr>
                <p:cNvPr id="145" name="Straight Connector 144">
                  <a:extLst>
                    <a:ext uri="{FF2B5EF4-FFF2-40B4-BE49-F238E27FC236}">
                      <a16:creationId xmlns:a16="http://schemas.microsoft.com/office/drawing/2014/main" id="{6088B5A4-1DF1-D90F-FCC5-2DA410A02A0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32853" y="2141477"/>
                  <a:ext cx="39305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E5FC84FE-070B-E2D4-603D-D5ADB11A2FD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129381" y="2089398"/>
                  <a:ext cx="0" cy="10415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39" name="Group 138">
                <a:extLst>
                  <a:ext uri="{FF2B5EF4-FFF2-40B4-BE49-F238E27FC236}">
                    <a16:creationId xmlns:a16="http://schemas.microsoft.com/office/drawing/2014/main" id="{1D06D536-0B7A-C475-A9E1-8955F8003823}"/>
                  </a:ext>
                </a:extLst>
              </p:cNvPr>
              <p:cNvGrpSpPr/>
              <p:nvPr/>
            </p:nvGrpSpPr>
            <p:grpSpPr>
              <a:xfrm>
                <a:off x="3961993" y="2294201"/>
                <a:ext cx="393056" cy="104158"/>
                <a:chOff x="3932853" y="2089398"/>
                <a:chExt cx="393056" cy="104158"/>
              </a:xfrm>
            </p:grpSpPr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BA9CC2FC-B69C-B634-710D-AD9801524AF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32853" y="2141477"/>
                  <a:ext cx="39305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4" name="Straight Connector 143">
                  <a:extLst>
                    <a:ext uri="{FF2B5EF4-FFF2-40B4-BE49-F238E27FC236}">
                      <a16:creationId xmlns:a16="http://schemas.microsoft.com/office/drawing/2014/main" id="{644E1024-A90B-6B77-8584-B7ACA252A89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129381" y="2089398"/>
                  <a:ext cx="0" cy="10415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40" name="Group 139">
                <a:extLst>
                  <a:ext uri="{FF2B5EF4-FFF2-40B4-BE49-F238E27FC236}">
                    <a16:creationId xmlns:a16="http://schemas.microsoft.com/office/drawing/2014/main" id="{9220625D-2348-3EED-488A-8F9E95B6CBD8}"/>
                  </a:ext>
                </a:extLst>
              </p:cNvPr>
              <p:cNvGrpSpPr/>
              <p:nvPr/>
            </p:nvGrpSpPr>
            <p:grpSpPr>
              <a:xfrm>
                <a:off x="3961993" y="2509207"/>
                <a:ext cx="393056" cy="104158"/>
                <a:chOff x="3932853" y="2089398"/>
                <a:chExt cx="393056" cy="104158"/>
              </a:xfrm>
            </p:grpSpPr>
            <p:cxnSp>
              <p:nvCxnSpPr>
                <p:cNvPr id="141" name="Straight Connector 140">
                  <a:extLst>
                    <a:ext uri="{FF2B5EF4-FFF2-40B4-BE49-F238E27FC236}">
                      <a16:creationId xmlns:a16="http://schemas.microsoft.com/office/drawing/2014/main" id="{953AE8CB-16CF-E099-E7FB-3CCAE730957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932853" y="2141477"/>
                  <a:ext cx="393056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2" name="Straight Connector 141">
                  <a:extLst>
                    <a:ext uri="{FF2B5EF4-FFF2-40B4-BE49-F238E27FC236}">
                      <a16:creationId xmlns:a16="http://schemas.microsoft.com/office/drawing/2014/main" id="{087181C1-6740-2446-DCC8-A21177174CA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129381" y="2089398"/>
                  <a:ext cx="0" cy="104158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17" name="Freeform: Shape 91">
              <a:extLst>
                <a:ext uri="{FF2B5EF4-FFF2-40B4-BE49-F238E27FC236}">
                  <a16:creationId xmlns:a16="http://schemas.microsoft.com/office/drawing/2014/main" id="{4A5680E4-7F3E-DDD9-0BC6-38449BAD1339}"/>
                </a:ext>
              </a:extLst>
            </p:cNvPr>
            <p:cNvSpPr/>
            <p:nvPr/>
          </p:nvSpPr>
          <p:spPr bwMode="auto">
            <a:xfrm>
              <a:off x="1795463" y="2105025"/>
              <a:ext cx="2967037" cy="1885950"/>
            </a:xfrm>
            <a:custGeom>
              <a:avLst/>
              <a:gdLst>
                <a:gd name="connsiteX0" fmla="*/ 2967037 w 2967037"/>
                <a:gd name="connsiteY0" fmla="*/ 1885950 h 1885950"/>
                <a:gd name="connsiteX1" fmla="*/ 2057400 w 2967037"/>
                <a:gd name="connsiteY1" fmla="*/ 1885950 h 1885950"/>
                <a:gd name="connsiteX2" fmla="*/ 2057400 w 2967037"/>
                <a:gd name="connsiteY2" fmla="*/ 1790700 h 1885950"/>
                <a:gd name="connsiteX3" fmla="*/ 1590675 w 2967037"/>
                <a:gd name="connsiteY3" fmla="*/ 1790700 h 1885950"/>
                <a:gd name="connsiteX4" fmla="*/ 1590675 w 2967037"/>
                <a:gd name="connsiteY4" fmla="*/ 1695450 h 1885950"/>
                <a:gd name="connsiteX5" fmla="*/ 1385887 w 2967037"/>
                <a:gd name="connsiteY5" fmla="*/ 1695450 h 1885950"/>
                <a:gd name="connsiteX6" fmla="*/ 1385887 w 2967037"/>
                <a:gd name="connsiteY6" fmla="*/ 1581150 h 1885950"/>
                <a:gd name="connsiteX7" fmla="*/ 1233487 w 2967037"/>
                <a:gd name="connsiteY7" fmla="*/ 1581150 h 1885950"/>
                <a:gd name="connsiteX8" fmla="*/ 1233487 w 2967037"/>
                <a:gd name="connsiteY8" fmla="*/ 1485900 h 1885950"/>
                <a:gd name="connsiteX9" fmla="*/ 1166812 w 2967037"/>
                <a:gd name="connsiteY9" fmla="*/ 1485900 h 1885950"/>
                <a:gd name="connsiteX10" fmla="*/ 1166812 w 2967037"/>
                <a:gd name="connsiteY10" fmla="*/ 1390650 h 1885950"/>
                <a:gd name="connsiteX11" fmla="*/ 1138237 w 2967037"/>
                <a:gd name="connsiteY11" fmla="*/ 1390650 h 1885950"/>
                <a:gd name="connsiteX12" fmla="*/ 1138237 w 2967037"/>
                <a:gd name="connsiteY12" fmla="*/ 1223963 h 1885950"/>
                <a:gd name="connsiteX13" fmla="*/ 1109662 w 2967037"/>
                <a:gd name="connsiteY13" fmla="*/ 1223963 h 1885950"/>
                <a:gd name="connsiteX14" fmla="*/ 1109662 w 2967037"/>
                <a:gd name="connsiteY14" fmla="*/ 1128713 h 1885950"/>
                <a:gd name="connsiteX15" fmla="*/ 1071562 w 2967037"/>
                <a:gd name="connsiteY15" fmla="*/ 1128713 h 1885950"/>
                <a:gd name="connsiteX16" fmla="*/ 1071562 w 2967037"/>
                <a:gd name="connsiteY16" fmla="*/ 1038225 h 1885950"/>
                <a:gd name="connsiteX17" fmla="*/ 1052512 w 2967037"/>
                <a:gd name="connsiteY17" fmla="*/ 1038225 h 1885950"/>
                <a:gd name="connsiteX18" fmla="*/ 1052512 w 2967037"/>
                <a:gd name="connsiteY18" fmla="*/ 952500 h 1885950"/>
                <a:gd name="connsiteX19" fmla="*/ 1019175 w 2967037"/>
                <a:gd name="connsiteY19" fmla="*/ 952500 h 1885950"/>
                <a:gd name="connsiteX20" fmla="*/ 1019175 w 2967037"/>
                <a:gd name="connsiteY20" fmla="*/ 857250 h 1885950"/>
                <a:gd name="connsiteX21" fmla="*/ 914400 w 2967037"/>
                <a:gd name="connsiteY21" fmla="*/ 857250 h 1885950"/>
                <a:gd name="connsiteX22" fmla="*/ 914400 w 2967037"/>
                <a:gd name="connsiteY22" fmla="*/ 690563 h 1885950"/>
                <a:gd name="connsiteX23" fmla="*/ 862012 w 2967037"/>
                <a:gd name="connsiteY23" fmla="*/ 690563 h 1885950"/>
                <a:gd name="connsiteX24" fmla="*/ 862012 w 2967037"/>
                <a:gd name="connsiteY24" fmla="*/ 600075 h 1885950"/>
                <a:gd name="connsiteX25" fmla="*/ 776287 w 2967037"/>
                <a:gd name="connsiteY25" fmla="*/ 600075 h 1885950"/>
                <a:gd name="connsiteX26" fmla="*/ 776287 w 2967037"/>
                <a:gd name="connsiteY26" fmla="*/ 500063 h 1885950"/>
                <a:gd name="connsiteX27" fmla="*/ 571500 w 2967037"/>
                <a:gd name="connsiteY27" fmla="*/ 500063 h 1885950"/>
                <a:gd name="connsiteX28" fmla="*/ 571500 w 2967037"/>
                <a:gd name="connsiteY28" fmla="*/ 419100 h 1885950"/>
                <a:gd name="connsiteX29" fmla="*/ 481012 w 2967037"/>
                <a:gd name="connsiteY29" fmla="*/ 419100 h 1885950"/>
                <a:gd name="connsiteX30" fmla="*/ 481012 w 2967037"/>
                <a:gd name="connsiteY30" fmla="*/ 323850 h 1885950"/>
                <a:gd name="connsiteX31" fmla="*/ 352425 w 2967037"/>
                <a:gd name="connsiteY31" fmla="*/ 323850 h 1885950"/>
                <a:gd name="connsiteX32" fmla="*/ 352425 w 2967037"/>
                <a:gd name="connsiteY32" fmla="*/ 161925 h 1885950"/>
                <a:gd name="connsiteX33" fmla="*/ 314325 w 2967037"/>
                <a:gd name="connsiteY33" fmla="*/ 161925 h 1885950"/>
                <a:gd name="connsiteX34" fmla="*/ 314325 w 2967037"/>
                <a:gd name="connsiteY34" fmla="*/ 85725 h 1885950"/>
                <a:gd name="connsiteX35" fmla="*/ 280987 w 2967037"/>
                <a:gd name="connsiteY35" fmla="*/ 85725 h 1885950"/>
                <a:gd name="connsiteX36" fmla="*/ 280987 w 2967037"/>
                <a:gd name="connsiteY36" fmla="*/ 0 h 1885950"/>
                <a:gd name="connsiteX37" fmla="*/ 0 w 2967037"/>
                <a:gd name="connsiteY37" fmla="*/ 0 h 188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67037" h="1885950">
                  <a:moveTo>
                    <a:pt x="2967037" y="1885950"/>
                  </a:moveTo>
                  <a:lnTo>
                    <a:pt x="2057400" y="1885950"/>
                  </a:lnTo>
                  <a:lnTo>
                    <a:pt x="2057400" y="1790700"/>
                  </a:lnTo>
                  <a:lnTo>
                    <a:pt x="1590675" y="1790700"/>
                  </a:lnTo>
                  <a:lnTo>
                    <a:pt x="1590675" y="1695450"/>
                  </a:lnTo>
                  <a:lnTo>
                    <a:pt x="1385887" y="1695450"/>
                  </a:lnTo>
                  <a:lnTo>
                    <a:pt x="1385887" y="1581150"/>
                  </a:lnTo>
                  <a:lnTo>
                    <a:pt x="1233487" y="1581150"/>
                  </a:lnTo>
                  <a:lnTo>
                    <a:pt x="1233487" y="1485900"/>
                  </a:lnTo>
                  <a:lnTo>
                    <a:pt x="1166812" y="1485900"/>
                  </a:lnTo>
                  <a:lnTo>
                    <a:pt x="1166812" y="1390650"/>
                  </a:lnTo>
                  <a:lnTo>
                    <a:pt x="1138237" y="1390650"/>
                  </a:lnTo>
                  <a:lnTo>
                    <a:pt x="1138237" y="1223963"/>
                  </a:lnTo>
                  <a:lnTo>
                    <a:pt x="1109662" y="1223963"/>
                  </a:lnTo>
                  <a:lnTo>
                    <a:pt x="1109662" y="1128713"/>
                  </a:lnTo>
                  <a:lnTo>
                    <a:pt x="1071562" y="1128713"/>
                  </a:lnTo>
                  <a:lnTo>
                    <a:pt x="1071562" y="1038225"/>
                  </a:lnTo>
                  <a:lnTo>
                    <a:pt x="1052512" y="1038225"/>
                  </a:lnTo>
                  <a:lnTo>
                    <a:pt x="1052512" y="952500"/>
                  </a:lnTo>
                  <a:lnTo>
                    <a:pt x="1019175" y="952500"/>
                  </a:lnTo>
                  <a:lnTo>
                    <a:pt x="1019175" y="857250"/>
                  </a:lnTo>
                  <a:lnTo>
                    <a:pt x="914400" y="857250"/>
                  </a:lnTo>
                  <a:lnTo>
                    <a:pt x="914400" y="690563"/>
                  </a:lnTo>
                  <a:lnTo>
                    <a:pt x="862012" y="690563"/>
                  </a:lnTo>
                  <a:lnTo>
                    <a:pt x="862012" y="600075"/>
                  </a:lnTo>
                  <a:lnTo>
                    <a:pt x="776287" y="600075"/>
                  </a:lnTo>
                  <a:lnTo>
                    <a:pt x="776287" y="500063"/>
                  </a:lnTo>
                  <a:lnTo>
                    <a:pt x="571500" y="500063"/>
                  </a:lnTo>
                  <a:lnTo>
                    <a:pt x="571500" y="419100"/>
                  </a:lnTo>
                  <a:lnTo>
                    <a:pt x="481012" y="419100"/>
                  </a:lnTo>
                  <a:lnTo>
                    <a:pt x="481012" y="323850"/>
                  </a:lnTo>
                  <a:lnTo>
                    <a:pt x="352425" y="323850"/>
                  </a:lnTo>
                  <a:lnTo>
                    <a:pt x="352425" y="161925"/>
                  </a:lnTo>
                  <a:lnTo>
                    <a:pt x="314325" y="161925"/>
                  </a:lnTo>
                  <a:lnTo>
                    <a:pt x="314325" y="85725"/>
                  </a:lnTo>
                  <a:lnTo>
                    <a:pt x="280987" y="85725"/>
                  </a:lnTo>
                  <a:lnTo>
                    <a:pt x="280987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DA3BA72-A590-B378-9308-16CB111025F1}"/>
                </a:ext>
              </a:extLst>
            </p:cNvPr>
            <p:cNvGrpSpPr/>
            <p:nvPr/>
          </p:nvGrpSpPr>
          <p:grpSpPr>
            <a:xfrm>
              <a:off x="2096788" y="2366817"/>
              <a:ext cx="2679095" cy="1685832"/>
              <a:chOff x="2096788" y="2366817"/>
              <a:chExt cx="2679095" cy="1685832"/>
            </a:xfrm>
          </p:grpSpPr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E6AB1A6E-17F0-B9BF-26C9-70D388D87400}"/>
                  </a:ext>
                </a:extLst>
              </p:cNvPr>
              <p:cNvGrpSpPr/>
              <p:nvPr/>
            </p:nvGrpSpPr>
            <p:grpSpPr>
              <a:xfrm>
                <a:off x="2096788" y="2366817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35" name="Straight Connector 134">
                  <a:extLst>
                    <a:ext uri="{FF2B5EF4-FFF2-40B4-BE49-F238E27FC236}">
                      <a16:creationId xmlns:a16="http://schemas.microsoft.com/office/drawing/2014/main" id="{9EA8D534-1950-1E2A-4E00-C50C21CD3B5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BF0447F4-53F6-1566-BDAE-FBD1CC9DBF1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D660524B-BF03-DDF9-1171-CE18322D6F2C}"/>
                  </a:ext>
                </a:extLst>
              </p:cNvPr>
              <p:cNvGrpSpPr/>
              <p:nvPr/>
            </p:nvGrpSpPr>
            <p:grpSpPr>
              <a:xfrm>
                <a:off x="2194901" y="2366817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B11128C1-9AAC-9FE8-4D33-42FBCF5B0C1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19E56729-A206-6F2A-ECB3-BBFEDCF9AF9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DF5C2ACF-1870-F2D5-0104-70E33592D02B}"/>
                  </a:ext>
                </a:extLst>
              </p:cNvPr>
              <p:cNvGrpSpPr/>
              <p:nvPr/>
            </p:nvGrpSpPr>
            <p:grpSpPr>
              <a:xfrm>
                <a:off x="2926156" y="3534307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31" name="Straight Connector 130">
                  <a:extLst>
                    <a:ext uri="{FF2B5EF4-FFF2-40B4-BE49-F238E27FC236}">
                      <a16:creationId xmlns:a16="http://schemas.microsoft.com/office/drawing/2014/main" id="{AE9930C5-AA15-5DBB-1851-FAC1B92EF12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B6D857D8-FA36-1184-6BDA-7E1CBA6F76D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04516D17-74B1-0C56-0512-EA6E0330CA78}"/>
                  </a:ext>
                </a:extLst>
              </p:cNvPr>
              <p:cNvGrpSpPr/>
              <p:nvPr/>
            </p:nvGrpSpPr>
            <p:grpSpPr>
              <a:xfrm>
                <a:off x="4218465" y="393511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00005AEF-4855-6CCE-7D94-B6948ADD485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5116BEDB-984D-91EA-B8A2-3FA6146B945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AA217D3E-C1A6-D8AF-1181-3B2E0A0C014C}"/>
                  </a:ext>
                </a:extLst>
              </p:cNvPr>
              <p:cNvGrpSpPr/>
              <p:nvPr/>
            </p:nvGrpSpPr>
            <p:grpSpPr>
              <a:xfrm>
                <a:off x="4362765" y="393511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27" name="Straight Connector 126">
                  <a:extLst>
                    <a:ext uri="{FF2B5EF4-FFF2-40B4-BE49-F238E27FC236}">
                      <a16:creationId xmlns:a16="http://schemas.microsoft.com/office/drawing/2014/main" id="{FE1F6A07-5787-BE35-D7D0-06E1FE7BDFB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425602D1-5892-D532-6ADD-874EEEA2105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CCB6B706-F846-447D-F1C9-C8039749D59E}"/>
                  </a:ext>
                </a:extLst>
              </p:cNvPr>
              <p:cNvGrpSpPr/>
              <p:nvPr/>
            </p:nvGrpSpPr>
            <p:grpSpPr>
              <a:xfrm>
                <a:off x="4472695" y="393511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25" name="Straight Connector 124">
                  <a:extLst>
                    <a:ext uri="{FF2B5EF4-FFF2-40B4-BE49-F238E27FC236}">
                      <a16:creationId xmlns:a16="http://schemas.microsoft.com/office/drawing/2014/main" id="{C6C68440-95FF-FE92-5061-30F93B6BBC5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6" name="Straight Connector 125">
                  <a:extLst>
                    <a:ext uri="{FF2B5EF4-FFF2-40B4-BE49-F238E27FC236}">
                      <a16:creationId xmlns:a16="http://schemas.microsoft.com/office/drawing/2014/main" id="{5390E223-1DB4-5213-65CD-970127D9880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07D430DF-0EF3-B58E-3858-B08F8E6D41CD}"/>
                  </a:ext>
                </a:extLst>
              </p:cNvPr>
              <p:cNvGrpSpPr/>
              <p:nvPr/>
            </p:nvGrpSpPr>
            <p:grpSpPr>
              <a:xfrm>
                <a:off x="4611357" y="393511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23" name="Straight Connector 122">
                  <a:extLst>
                    <a:ext uri="{FF2B5EF4-FFF2-40B4-BE49-F238E27FC236}">
                      <a16:creationId xmlns:a16="http://schemas.microsoft.com/office/drawing/2014/main" id="{3785FB06-3EAA-6365-8D31-CEA7DB682C6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EA9CD61C-2B12-9578-A328-558FEC6236D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49820FEF-79B3-C05B-C7A4-940113C75DB9}"/>
                  </a:ext>
                </a:extLst>
              </p:cNvPr>
              <p:cNvGrpSpPr/>
              <p:nvPr/>
            </p:nvGrpSpPr>
            <p:grpSpPr>
              <a:xfrm>
                <a:off x="4658349" y="393511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6D263A78-A506-6CF5-77A7-6AC48B26C9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B8111923-701C-FD09-B079-4A41D0892DE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19" name="Freeform: Shape 122">
              <a:extLst>
                <a:ext uri="{FF2B5EF4-FFF2-40B4-BE49-F238E27FC236}">
                  <a16:creationId xmlns:a16="http://schemas.microsoft.com/office/drawing/2014/main" id="{76196BEA-FB44-4ED2-F6E8-FA7955219E66}"/>
                </a:ext>
              </a:extLst>
            </p:cNvPr>
            <p:cNvSpPr/>
            <p:nvPr/>
          </p:nvSpPr>
          <p:spPr bwMode="auto">
            <a:xfrm>
              <a:off x="1809750" y="2111375"/>
              <a:ext cx="1974850" cy="2181225"/>
            </a:xfrm>
            <a:custGeom>
              <a:avLst/>
              <a:gdLst>
                <a:gd name="connsiteX0" fmla="*/ 1974850 w 1974850"/>
                <a:gd name="connsiteY0" fmla="*/ 2181225 h 2181225"/>
                <a:gd name="connsiteX1" fmla="*/ 1289050 w 1974850"/>
                <a:gd name="connsiteY1" fmla="*/ 2181225 h 2181225"/>
                <a:gd name="connsiteX2" fmla="*/ 1289050 w 1974850"/>
                <a:gd name="connsiteY2" fmla="*/ 1993900 h 2181225"/>
                <a:gd name="connsiteX3" fmla="*/ 793750 w 1974850"/>
                <a:gd name="connsiteY3" fmla="*/ 1993900 h 2181225"/>
                <a:gd name="connsiteX4" fmla="*/ 793750 w 1974850"/>
                <a:gd name="connsiteY4" fmla="*/ 1803400 h 2181225"/>
                <a:gd name="connsiteX5" fmla="*/ 654050 w 1974850"/>
                <a:gd name="connsiteY5" fmla="*/ 1803400 h 2181225"/>
                <a:gd name="connsiteX6" fmla="*/ 654050 w 1974850"/>
                <a:gd name="connsiteY6" fmla="*/ 1412875 h 2181225"/>
                <a:gd name="connsiteX7" fmla="*/ 460375 w 1974850"/>
                <a:gd name="connsiteY7" fmla="*/ 1412875 h 2181225"/>
                <a:gd name="connsiteX8" fmla="*/ 460375 w 1974850"/>
                <a:gd name="connsiteY8" fmla="*/ 1270000 h 2181225"/>
                <a:gd name="connsiteX9" fmla="*/ 342900 w 1974850"/>
                <a:gd name="connsiteY9" fmla="*/ 1270000 h 2181225"/>
                <a:gd name="connsiteX10" fmla="*/ 342900 w 1974850"/>
                <a:gd name="connsiteY10" fmla="*/ 1108075 h 2181225"/>
                <a:gd name="connsiteX11" fmla="*/ 222250 w 1974850"/>
                <a:gd name="connsiteY11" fmla="*/ 1108075 h 2181225"/>
                <a:gd name="connsiteX12" fmla="*/ 222250 w 1974850"/>
                <a:gd name="connsiteY12" fmla="*/ 768350 h 2181225"/>
                <a:gd name="connsiteX13" fmla="*/ 177800 w 1974850"/>
                <a:gd name="connsiteY13" fmla="*/ 768350 h 2181225"/>
                <a:gd name="connsiteX14" fmla="*/ 177800 w 1974850"/>
                <a:gd name="connsiteY14" fmla="*/ 619125 h 2181225"/>
                <a:gd name="connsiteX15" fmla="*/ 158750 w 1974850"/>
                <a:gd name="connsiteY15" fmla="*/ 619125 h 2181225"/>
                <a:gd name="connsiteX16" fmla="*/ 158750 w 1974850"/>
                <a:gd name="connsiteY16" fmla="*/ 463550 h 2181225"/>
                <a:gd name="connsiteX17" fmla="*/ 130175 w 1974850"/>
                <a:gd name="connsiteY17" fmla="*/ 463550 h 2181225"/>
                <a:gd name="connsiteX18" fmla="*/ 130175 w 1974850"/>
                <a:gd name="connsiteY18" fmla="*/ 307975 h 2181225"/>
                <a:gd name="connsiteX19" fmla="*/ 104775 w 1974850"/>
                <a:gd name="connsiteY19" fmla="*/ 307975 h 2181225"/>
                <a:gd name="connsiteX20" fmla="*/ 104775 w 1974850"/>
                <a:gd name="connsiteY20" fmla="*/ 142875 h 2181225"/>
                <a:gd name="connsiteX21" fmla="*/ 53975 w 1974850"/>
                <a:gd name="connsiteY21" fmla="*/ 142875 h 2181225"/>
                <a:gd name="connsiteX22" fmla="*/ 53975 w 1974850"/>
                <a:gd name="connsiteY22" fmla="*/ 0 h 2181225"/>
                <a:gd name="connsiteX23" fmla="*/ 0 w 1974850"/>
                <a:gd name="connsiteY23" fmla="*/ 0 h 2181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974850" h="2181225">
                  <a:moveTo>
                    <a:pt x="1974850" y="2181225"/>
                  </a:moveTo>
                  <a:lnTo>
                    <a:pt x="1289050" y="2181225"/>
                  </a:lnTo>
                  <a:lnTo>
                    <a:pt x="1289050" y="1993900"/>
                  </a:lnTo>
                  <a:lnTo>
                    <a:pt x="793750" y="1993900"/>
                  </a:lnTo>
                  <a:lnTo>
                    <a:pt x="793750" y="1803400"/>
                  </a:lnTo>
                  <a:lnTo>
                    <a:pt x="654050" y="1803400"/>
                  </a:lnTo>
                  <a:lnTo>
                    <a:pt x="654050" y="1412875"/>
                  </a:lnTo>
                  <a:lnTo>
                    <a:pt x="460375" y="1412875"/>
                  </a:lnTo>
                  <a:lnTo>
                    <a:pt x="460375" y="1270000"/>
                  </a:lnTo>
                  <a:lnTo>
                    <a:pt x="342900" y="1270000"/>
                  </a:lnTo>
                  <a:lnTo>
                    <a:pt x="342900" y="1108075"/>
                  </a:lnTo>
                  <a:lnTo>
                    <a:pt x="222250" y="1108075"/>
                  </a:lnTo>
                  <a:lnTo>
                    <a:pt x="222250" y="768350"/>
                  </a:lnTo>
                  <a:lnTo>
                    <a:pt x="177800" y="768350"/>
                  </a:lnTo>
                  <a:lnTo>
                    <a:pt x="177800" y="619125"/>
                  </a:lnTo>
                  <a:lnTo>
                    <a:pt x="158750" y="619125"/>
                  </a:lnTo>
                  <a:lnTo>
                    <a:pt x="158750" y="463550"/>
                  </a:lnTo>
                  <a:lnTo>
                    <a:pt x="130175" y="463550"/>
                  </a:lnTo>
                  <a:lnTo>
                    <a:pt x="130175" y="307975"/>
                  </a:lnTo>
                  <a:lnTo>
                    <a:pt x="104775" y="307975"/>
                  </a:lnTo>
                  <a:lnTo>
                    <a:pt x="104775" y="142875"/>
                  </a:lnTo>
                  <a:lnTo>
                    <a:pt x="53975" y="142875"/>
                  </a:lnTo>
                  <a:lnTo>
                    <a:pt x="53975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40FA12A-5DBA-F287-5D46-BC0B3FE020F8}"/>
                </a:ext>
              </a:extLst>
            </p:cNvPr>
            <p:cNvGrpSpPr/>
            <p:nvPr/>
          </p:nvGrpSpPr>
          <p:grpSpPr>
            <a:xfrm>
              <a:off x="1740821" y="2043038"/>
              <a:ext cx="2065179" cy="2308329"/>
              <a:chOff x="1740821" y="2043038"/>
              <a:chExt cx="2065179" cy="2308329"/>
            </a:xfrm>
          </p:grpSpPr>
          <p:grpSp>
            <p:nvGrpSpPr>
              <p:cNvPr id="104" name="Group 103">
                <a:extLst>
                  <a:ext uri="{FF2B5EF4-FFF2-40B4-BE49-F238E27FC236}">
                    <a16:creationId xmlns:a16="http://schemas.microsoft.com/office/drawing/2014/main" id="{FA74C627-0841-8741-7D38-1108F380045D}"/>
                  </a:ext>
                </a:extLst>
              </p:cNvPr>
              <p:cNvGrpSpPr/>
              <p:nvPr/>
            </p:nvGrpSpPr>
            <p:grpSpPr>
              <a:xfrm>
                <a:off x="1740821" y="2043038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FD4CD8BE-C402-1976-71EB-5EF26739CAA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D108D5B7-B4BA-24B6-107F-2309E39BE6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B8E806D8-13D5-8034-BE90-5C8555AF26E3}"/>
                  </a:ext>
                </a:extLst>
              </p:cNvPr>
              <p:cNvGrpSpPr/>
              <p:nvPr/>
            </p:nvGrpSpPr>
            <p:grpSpPr>
              <a:xfrm>
                <a:off x="2208852" y="3467356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46FC3ED0-0FC6-E16C-84CC-838352899E9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3B2C6723-6CBF-E098-0E08-6242D5DFD64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6E68A3C8-DA05-4BF7-10FC-280AD8CE5507}"/>
                  </a:ext>
                </a:extLst>
              </p:cNvPr>
              <p:cNvGrpSpPr/>
              <p:nvPr/>
            </p:nvGrpSpPr>
            <p:grpSpPr>
              <a:xfrm>
                <a:off x="3688466" y="4233833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9CE9A5CA-F9F6-FD57-55E7-ACD93D82A80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0532FF66-E1BE-DAB3-0066-62F6298CD94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  <p:sp>
          <p:nvSpPr>
            <p:cNvPr id="21" name="Freeform: Shape 133">
              <a:extLst>
                <a:ext uri="{FF2B5EF4-FFF2-40B4-BE49-F238E27FC236}">
                  <a16:creationId xmlns:a16="http://schemas.microsoft.com/office/drawing/2014/main" id="{86729243-B392-F8EF-7CE2-87450EE96089}"/>
                </a:ext>
              </a:extLst>
            </p:cNvPr>
            <p:cNvSpPr/>
            <p:nvPr/>
          </p:nvSpPr>
          <p:spPr bwMode="auto">
            <a:xfrm>
              <a:off x="1806575" y="2095500"/>
              <a:ext cx="4149725" cy="965200"/>
            </a:xfrm>
            <a:custGeom>
              <a:avLst/>
              <a:gdLst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41325 w 4149725"/>
                <a:gd name="connsiteY37" fmla="*/ 107950 h 965200"/>
                <a:gd name="connsiteX38" fmla="*/ 441325 w 4149725"/>
                <a:gd name="connsiteY38" fmla="*/ 79375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38944 w 4149725"/>
                <a:gd name="connsiteY37" fmla="*/ 129381 h 965200"/>
                <a:gd name="connsiteX38" fmla="*/ 441325 w 4149725"/>
                <a:gd name="connsiteY38" fmla="*/ 79375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55613 w 4149725"/>
                <a:gd name="connsiteY37" fmla="*/ 129381 h 965200"/>
                <a:gd name="connsiteX38" fmla="*/ 441325 w 4149725"/>
                <a:gd name="connsiteY38" fmla="*/ 79375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55613 w 4149725"/>
                <a:gd name="connsiteY37" fmla="*/ 129381 h 965200"/>
                <a:gd name="connsiteX38" fmla="*/ 457994 w 4149725"/>
                <a:gd name="connsiteY38" fmla="*/ 79375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55613 w 4149725"/>
                <a:gd name="connsiteY37" fmla="*/ 129381 h 965200"/>
                <a:gd name="connsiteX38" fmla="*/ 457994 w 4149725"/>
                <a:gd name="connsiteY38" fmla="*/ 79375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55613 w 4149725"/>
                <a:gd name="connsiteY37" fmla="*/ 129381 h 965200"/>
                <a:gd name="connsiteX38" fmla="*/ 462757 w 4149725"/>
                <a:gd name="connsiteY38" fmla="*/ 81756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  <a:gd name="connsiteX0" fmla="*/ 4149725 w 4149725"/>
                <a:gd name="connsiteY0" fmla="*/ 965200 h 965200"/>
                <a:gd name="connsiteX1" fmla="*/ 2759075 w 4149725"/>
                <a:gd name="connsiteY1" fmla="*/ 965200 h 965200"/>
                <a:gd name="connsiteX2" fmla="*/ 2759075 w 4149725"/>
                <a:gd name="connsiteY2" fmla="*/ 879475 h 965200"/>
                <a:gd name="connsiteX3" fmla="*/ 2590800 w 4149725"/>
                <a:gd name="connsiteY3" fmla="*/ 879475 h 965200"/>
                <a:gd name="connsiteX4" fmla="*/ 2590800 w 4149725"/>
                <a:gd name="connsiteY4" fmla="*/ 819150 h 965200"/>
                <a:gd name="connsiteX5" fmla="*/ 2546350 w 4149725"/>
                <a:gd name="connsiteY5" fmla="*/ 819150 h 965200"/>
                <a:gd name="connsiteX6" fmla="*/ 2546350 w 4149725"/>
                <a:gd name="connsiteY6" fmla="*/ 777875 h 965200"/>
                <a:gd name="connsiteX7" fmla="*/ 2527300 w 4149725"/>
                <a:gd name="connsiteY7" fmla="*/ 777875 h 965200"/>
                <a:gd name="connsiteX8" fmla="*/ 2527300 w 4149725"/>
                <a:gd name="connsiteY8" fmla="*/ 762000 h 965200"/>
                <a:gd name="connsiteX9" fmla="*/ 2197100 w 4149725"/>
                <a:gd name="connsiteY9" fmla="*/ 762000 h 965200"/>
                <a:gd name="connsiteX10" fmla="*/ 2197100 w 4149725"/>
                <a:gd name="connsiteY10" fmla="*/ 692150 h 965200"/>
                <a:gd name="connsiteX11" fmla="*/ 2178050 w 4149725"/>
                <a:gd name="connsiteY11" fmla="*/ 692150 h 965200"/>
                <a:gd name="connsiteX12" fmla="*/ 2178050 w 4149725"/>
                <a:gd name="connsiteY12" fmla="*/ 666750 h 965200"/>
                <a:gd name="connsiteX13" fmla="*/ 2136775 w 4149725"/>
                <a:gd name="connsiteY13" fmla="*/ 666750 h 965200"/>
                <a:gd name="connsiteX14" fmla="*/ 2136775 w 4149725"/>
                <a:gd name="connsiteY14" fmla="*/ 622300 h 965200"/>
                <a:gd name="connsiteX15" fmla="*/ 2060575 w 4149725"/>
                <a:gd name="connsiteY15" fmla="*/ 622300 h 965200"/>
                <a:gd name="connsiteX16" fmla="*/ 2060575 w 4149725"/>
                <a:gd name="connsiteY16" fmla="*/ 574675 h 965200"/>
                <a:gd name="connsiteX17" fmla="*/ 2047875 w 4149725"/>
                <a:gd name="connsiteY17" fmla="*/ 574675 h 965200"/>
                <a:gd name="connsiteX18" fmla="*/ 2047875 w 4149725"/>
                <a:gd name="connsiteY18" fmla="*/ 501650 h 965200"/>
                <a:gd name="connsiteX19" fmla="*/ 2012950 w 4149725"/>
                <a:gd name="connsiteY19" fmla="*/ 501650 h 965200"/>
                <a:gd name="connsiteX20" fmla="*/ 2012950 w 4149725"/>
                <a:gd name="connsiteY20" fmla="*/ 457200 h 965200"/>
                <a:gd name="connsiteX21" fmla="*/ 1797050 w 4149725"/>
                <a:gd name="connsiteY21" fmla="*/ 457200 h 965200"/>
                <a:gd name="connsiteX22" fmla="*/ 1797050 w 4149725"/>
                <a:gd name="connsiteY22" fmla="*/ 406400 h 965200"/>
                <a:gd name="connsiteX23" fmla="*/ 1584325 w 4149725"/>
                <a:gd name="connsiteY23" fmla="*/ 406400 h 965200"/>
                <a:gd name="connsiteX24" fmla="*/ 1584325 w 4149725"/>
                <a:gd name="connsiteY24" fmla="*/ 368300 h 965200"/>
                <a:gd name="connsiteX25" fmla="*/ 1524000 w 4149725"/>
                <a:gd name="connsiteY25" fmla="*/ 368300 h 965200"/>
                <a:gd name="connsiteX26" fmla="*/ 1524000 w 4149725"/>
                <a:gd name="connsiteY26" fmla="*/ 333375 h 965200"/>
                <a:gd name="connsiteX27" fmla="*/ 1314450 w 4149725"/>
                <a:gd name="connsiteY27" fmla="*/ 333375 h 965200"/>
                <a:gd name="connsiteX28" fmla="*/ 1314450 w 4149725"/>
                <a:gd name="connsiteY28" fmla="*/ 295275 h 965200"/>
                <a:gd name="connsiteX29" fmla="*/ 1285875 w 4149725"/>
                <a:gd name="connsiteY29" fmla="*/ 295275 h 965200"/>
                <a:gd name="connsiteX30" fmla="*/ 1285875 w 4149725"/>
                <a:gd name="connsiteY30" fmla="*/ 238125 h 965200"/>
                <a:gd name="connsiteX31" fmla="*/ 1250950 w 4149725"/>
                <a:gd name="connsiteY31" fmla="*/ 238125 h 965200"/>
                <a:gd name="connsiteX32" fmla="*/ 1250950 w 4149725"/>
                <a:gd name="connsiteY32" fmla="*/ 203200 h 965200"/>
                <a:gd name="connsiteX33" fmla="*/ 1219200 w 4149725"/>
                <a:gd name="connsiteY33" fmla="*/ 203200 h 965200"/>
                <a:gd name="connsiteX34" fmla="*/ 1219200 w 4149725"/>
                <a:gd name="connsiteY34" fmla="*/ 130175 h 965200"/>
                <a:gd name="connsiteX35" fmla="*/ 463550 w 4149725"/>
                <a:gd name="connsiteY35" fmla="*/ 130175 h 965200"/>
                <a:gd name="connsiteX36" fmla="*/ 463550 w 4149725"/>
                <a:gd name="connsiteY36" fmla="*/ 130175 h 965200"/>
                <a:gd name="connsiteX37" fmla="*/ 455613 w 4149725"/>
                <a:gd name="connsiteY37" fmla="*/ 129381 h 965200"/>
                <a:gd name="connsiteX38" fmla="*/ 455613 w 4149725"/>
                <a:gd name="connsiteY38" fmla="*/ 81756 h 965200"/>
                <a:gd name="connsiteX39" fmla="*/ 431800 w 4149725"/>
                <a:gd name="connsiteY39" fmla="*/ 79375 h 965200"/>
                <a:gd name="connsiteX40" fmla="*/ 431800 w 4149725"/>
                <a:gd name="connsiteY40" fmla="*/ 44450 h 965200"/>
                <a:gd name="connsiteX41" fmla="*/ 288925 w 4149725"/>
                <a:gd name="connsiteY41" fmla="*/ 44450 h 965200"/>
                <a:gd name="connsiteX42" fmla="*/ 288925 w 4149725"/>
                <a:gd name="connsiteY42" fmla="*/ 0 h 965200"/>
                <a:gd name="connsiteX43" fmla="*/ 0 w 4149725"/>
                <a:gd name="connsiteY43" fmla="*/ 0 h 965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149725" h="965200">
                  <a:moveTo>
                    <a:pt x="4149725" y="965200"/>
                  </a:moveTo>
                  <a:lnTo>
                    <a:pt x="2759075" y="965200"/>
                  </a:lnTo>
                  <a:lnTo>
                    <a:pt x="2759075" y="879475"/>
                  </a:lnTo>
                  <a:lnTo>
                    <a:pt x="2590800" y="879475"/>
                  </a:lnTo>
                  <a:lnTo>
                    <a:pt x="2590800" y="819150"/>
                  </a:lnTo>
                  <a:lnTo>
                    <a:pt x="2546350" y="819150"/>
                  </a:lnTo>
                  <a:lnTo>
                    <a:pt x="2546350" y="777875"/>
                  </a:lnTo>
                  <a:lnTo>
                    <a:pt x="2527300" y="777875"/>
                  </a:lnTo>
                  <a:lnTo>
                    <a:pt x="2527300" y="762000"/>
                  </a:lnTo>
                  <a:lnTo>
                    <a:pt x="2197100" y="762000"/>
                  </a:lnTo>
                  <a:lnTo>
                    <a:pt x="2197100" y="692150"/>
                  </a:lnTo>
                  <a:lnTo>
                    <a:pt x="2178050" y="692150"/>
                  </a:lnTo>
                  <a:lnTo>
                    <a:pt x="2178050" y="666750"/>
                  </a:lnTo>
                  <a:lnTo>
                    <a:pt x="2136775" y="666750"/>
                  </a:lnTo>
                  <a:lnTo>
                    <a:pt x="2136775" y="622300"/>
                  </a:lnTo>
                  <a:lnTo>
                    <a:pt x="2060575" y="622300"/>
                  </a:lnTo>
                  <a:lnTo>
                    <a:pt x="2060575" y="574675"/>
                  </a:lnTo>
                  <a:lnTo>
                    <a:pt x="2047875" y="574675"/>
                  </a:lnTo>
                  <a:lnTo>
                    <a:pt x="2047875" y="501650"/>
                  </a:lnTo>
                  <a:lnTo>
                    <a:pt x="2012950" y="501650"/>
                  </a:lnTo>
                  <a:lnTo>
                    <a:pt x="2012950" y="457200"/>
                  </a:lnTo>
                  <a:lnTo>
                    <a:pt x="1797050" y="457200"/>
                  </a:lnTo>
                  <a:lnTo>
                    <a:pt x="1797050" y="406400"/>
                  </a:lnTo>
                  <a:lnTo>
                    <a:pt x="1584325" y="406400"/>
                  </a:lnTo>
                  <a:lnTo>
                    <a:pt x="1584325" y="368300"/>
                  </a:lnTo>
                  <a:lnTo>
                    <a:pt x="1524000" y="368300"/>
                  </a:lnTo>
                  <a:lnTo>
                    <a:pt x="1524000" y="333375"/>
                  </a:lnTo>
                  <a:lnTo>
                    <a:pt x="1314450" y="333375"/>
                  </a:lnTo>
                  <a:lnTo>
                    <a:pt x="1314450" y="295275"/>
                  </a:lnTo>
                  <a:lnTo>
                    <a:pt x="1285875" y="295275"/>
                  </a:lnTo>
                  <a:lnTo>
                    <a:pt x="1285875" y="238125"/>
                  </a:lnTo>
                  <a:lnTo>
                    <a:pt x="1250950" y="238125"/>
                  </a:lnTo>
                  <a:lnTo>
                    <a:pt x="1250950" y="203200"/>
                  </a:lnTo>
                  <a:lnTo>
                    <a:pt x="1219200" y="203200"/>
                  </a:lnTo>
                  <a:lnTo>
                    <a:pt x="1219200" y="130175"/>
                  </a:lnTo>
                  <a:lnTo>
                    <a:pt x="463550" y="130175"/>
                  </a:lnTo>
                  <a:lnTo>
                    <a:pt x="463550" y="130175"/>
                  </a:lnTo>
                  <a:lnTo>
                    <a:pt x="455613" y="129381"/>
                  </a:lnTo>
                  <a:lnTo>
                    <a:pt x="455613" y="81756"/>
                  </a:lnTo>
                  <a:lnTo>
                    <a:pt x="431800" y="79375"/>
                  </a:lnTo>
                  <a:lnTo>
                    <a:pt x="431800" y="44450"/>
                  </a:lnTo>
                  <a:lnTo>
                    <a:pt x="288925" y="44450"/>
                  </a:lnTo>
                  <a:lnTo>
                    <a:pt x="288925" y="0"/>
                  </a:lnTo>
                  <a:lnTo>
                    <a:pt x="0" y="0"/>
                  </a:lnTo>
                </a:path>
              </a:pathLst>
            </a:custGeom>
            <a:noFill/>
            <a:ln w="28575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78DF38EE-A9F2-2EF6-9BBA-44CCA9812292}"/>
                </a:ext>
              </a:extLst>
            </p:cNvPr>
            <p:cNvGrpSpPr/>
            <p:nvPr/>
          </p:nvGrpSpPr>
          <p:grpSpPr>
            <a:xfrm>
              <a:off x="2511881" y="2166354"/>
              <a:ext cx="3459679" cy="953114"/>
              <a:chOff x="2511881" y="2166354"/>
              <a:chExt cx="3459679" cy="953114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E0051F62-806A-FE73-F43E-913A982F8DEE}"/>
                  </a:ext>
                </a:extLst>
              </p:cNvPr>
              <p:cNvGrpSpPr/>
              <p:nvPr/>
            </p:nvGrpSpPr>
            <p:grpSpPr>
              <a:xfrm>
                <a:off x="2511881" y="216635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84DCC863-940A-7FDD-7D00-DDEF7A2288C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9FE3F1EA-B0AF-D2CA-2554-219D9E11D7D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FD3EA34A-63E5-DB90-240D-DF4D8F5F2820}"/>
                  </a:ext>
                </a:extLst>
              </p:cNvPr>
              <p:cNvGrpSpPr/>
              <p:nvPr/>
            </p:nvGrpSpPr>
            <p:grpSpPr>
              <a:xfrm>
                <a:off x="2739477" y="216635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E590403E-D85C-711E-765C-3F679A578FC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5AFF8D5F-7DDA-BC65-DD96-AE894CED16D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7A9B5244-F4B1-7801-F184-DB8B6CF9313C}"/>
                  </a:ext>
                </a:extLst>
              </p:cNvPr>
              <p:cNvGrpSpPr/>
              <p:nvPr/>
            </p:nvGrpSpPr>
            <p:grpSpPr>
              <a:xfrm>
                <a:off x="2812006" y="216635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98" name="Straight Connector 97">
                  <a:extLst>
                    <a:ext uri="{FF2B5EF4-FFF2-40B4-BE49-F238E27FC236}">
                      <a16:creationId xmlns:a16="http://schemas.microsoft.com/office/drawing/2014/main" id="{8F7FB936-F75D-5670-3324-28E0BAF62F8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1FA9A9C3-651B-49E5-9887-BE1311321A6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17A0F415-AE2C-7383-A4CF-733ADE30B22A}"/>
                  </a:ext>
                </a:extLst>
              </p:cNvPr>
              <p:cNvGrpSpPr/>
              <p:nvPr/>
            </p:nvGrpSpPr>
            <p:grpSpPr>
              <a:xfrm>
                <a:off x="2972648" y="2221686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FB17B502-9B54-38A7-7532-4A395A26804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719DF067-05F3-2D28-BE99-7CCAA3EB1C9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C9A0F7E8-4385-BB93-6887-52C0045E333D}"/>
                  </a:ext>
                </a:extLst>
              </p:cNvPr>
              <p:cNvGrpSpPr/>
              <p:nvPr/>
            </p:nvGrpSpPr>
            <p:grpSpPr>
              <a:xfrm>
                <a:off x="3350089" y="2450440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94" name="Straight Connector 93">
                  <a:extLst>
                    <a:ext uri="{FF2B5EF4-FFF2-40B4-BE49-F238E27FC236}">
                      <a16:creationId xmlns:a16="http://schemas.microsoft.com/office/drawing/2014/main" id="{0E8C81F1-0FD4-7BC8-0023-2FBE240998D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5" name="Straight Connector 94">
                  <a:extLst>
                    <a:ext uri="{FF2B5EF4-FFF2-40B4-BE49-F238E27FC236}">
                      <a16:creationId xmlns:a16="http://schemas.microsoft.com/office/drawing/2014/main" id="{65D87172-9F84-D9EA-1257-C0B3A01F225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7054540A-0343-D526-F86C-74599A31784A}"/>
                  </a:ext>
                </a:extLst>
              </p:cNvPr>
              <p:cNvGrpSpPr/>
              <p:nvPr/>
            </p:nvGrpSpPr>
            <p:grpSpPr>
              <a:xfrm>
                <a:off x="3766762" y="2542920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B6336345-2F05-57C1-4565-72E989804D7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3" name="Straight Connector 92">
                  <a:extLst>
                    <a:ext uri="{FF2B5EF4-FFF2-40B4-BE49-F238E27FC236}">
                      <a16:creationId xmlns:a16="http://schemas.microsoft.com/office/drawing/2014/main" id="{2E8DD466-84AF-575A-E706-BB78C428BFF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22E5B4E-D19B-FFC0-3427-AAF7A639A7F8}"/>
                  </a:ext>
                </a:extLst>
              </p:cNvPr>
              <p:cNvGrpSpPr/>
              <p:nvPr/>
            </p:nvGrpSpPr>
            <p:grpSpPr>
              <a:xfrm>
                <a:off x="4034553" y="2786298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90" name="Straight Connector 89">
                  <a:extLst>
                    <a:ext uri="{FF2B5EF4-FFF2-40B4-BE49-F238E27FC236}">
                      <a16:creationId xmlns:a16="http://schemas.microsoft.com/office/drawing/2014/main" id="{107B1814-E9D4-ECA8-5414-102FB12D890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1" name="Straight Connector 90">
                  <a:extLst>
                    <a:ext uri="{FF2B5EF4-FFF2-40B4-BE49-F238E27FC236}">
                      <a16:creationId xmlns:a16="http://schemas.microsoft.com/office/drawing/2014/main" id="{912DA339-7979-6CB8-22C6-826894F534C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74EBFA5D-9620-8298-7ABA-4E5250A85A00}"/>
                  </a:ext>
                </a:extLst>
              </p:cNvPr>
              <p:cNvGrpSpPr/>
              <p:nvPr/>
            </p:nvGrpSpPr>
            <p:grpSpPr>
              <a:xfrm>
                <a:off x="4100928" y="2786298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88" name="Straight Connector 87">
                  <a:extLst>
                    <a:ext uri="{FF2B5EF4-FFF2-40B4-BE49-F238E27FC236}">
                      <a16:creationId xmlns:a16="http://schemas.microsoft.com/office/drawing/2014/main" id="{A357BAFD-65B4-0EB5-D17C-30A4585B79A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9" name="Straight Connector 88">
                  <a:extLst>
                    <a:ext uri="{FF2B5EF4-FFF2-40B4-BE49-F238E27FC236}">
                      <a16:creationId xmlns:a16="http://schemas.microsoft.com/office/drawing/2014/main" id="{35F3AD8F-89E7-556B-6C06-40A0B4A1456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BB7762BF-27D9-95CF-2E88-51BE422F1766}"/>
                  </a:ext>
                </a:extLst>
              </p:cNvPr>
              <p:cNvGrpSpPr/>
              <p:nvPr/>
            </p:nvGrpSpPr>
            <p:grpSpPr>
              <a:xfrm>
                <a:off x="4146435" y="2786298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F31FB4DB-2D80-DF5E-B4C1-38ABD3FB6B4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64381FF3-5267-5841-BB04-F0643ABF451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2F51C23B-BAD2-69B9-85C8-A1B804356C94}"/>
                  </a:ext>
                </a:extLst>
              </p:cNvPr>
              <p:cNvGrpSpPr/>
              <p:nvPr/>
            </p:nvGrpSpPr>
            <p:grpSpPr>
              <a:xfrm>
                <a:off x="4188978" y="2786298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E1F7E969-78C6-302B-3316-3DCABB59CEE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0320FF65-1A39-FDEA-B6EF-B8C01BAD7BD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63D1135E-C4A1-F413-8F8A-2A17D1BFBF4F}"/>
                  </a:ext>
                </a:extLst>
              </p:cNvPr>
              <p:cNvGrpSpPr/>
              <p:nvPr/>
            </p:nvGrpSpPr>
            <p:grpSpPr>
              <a:xfrm>
                <a:off x="4233023" y="2786298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D0B26EC2-8415-F63D-BC02-5493DD255E0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7496CBF7-A868-A2EB-EDE8-A8D168F2B0E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0FE2A98D-88C9-3357-097D-FF062E81B137}"/>
                  </a:ext>
                </a:extLst>
              </p:cNvPr>
              <p:cNvGrpSpPr/>
              <p:nvPr/>
            </p:nvGrpSpPr>
            <p:grpSpPr>
              <a:xfrm>
                <a:off x="4297416" y="2850123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7325DD8C-4D46-4F64-288F-2A9BF68EA77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E6BB032E-84FB-D6F3-D0B5-1F7B19C3FC4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EA34DC78-CD74-0CA4-4BC9-CC207660E22C}"/>
                  </a:ext>
                </a:extLst>
              </p:cNvPr>
              <p:cNvGrpSpPr/>
              <p:nvPr/>
            </p:nvGrpSpPr>
            <p:grpSpPr>
              <a:xfrm>
                <a:off x="4350557" y="292049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78" name="Straight Connector 77">
                  <a:extLst>
                    <a:ext uri="{FF2B5EF4-FFF2-40B4-BE49-F238E27FC236}">
                      <a16:creationId xmlns:a16="http://schemas.microsoft.com/office/drawing/2014/main" id="{81CC135F-3BC2-ED8C-F544-8F88AE9FBE5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38906FFB-AA23-009F-DE6F-6A50F386933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BD02C44F-44F0-372E-4A65-8D2237AE9DE4}"/>
                  </a:ext>
                </a:extLst>
              </p:cNvPr>
              <p:cNvGrpSpPr/>
              <p:nvPr/>
            </p:nvGrpSpPr>
            <p:grpSpPr>
              <a:xfrm>
                <a:off x="4389630" y="292049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9DB350B9-3A03-A06A-AD4A-655631D6543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DB254822-5D7C-2EE8-F814-E04F8BF33AF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88D06046-B1DF-B2AF-222D-C8DDB3492F43}"/>
                  </a:ext>
                </a:extLst>
              </p:cNvPr>
              <p:cNvGrpSpPr/>
              <p:nvPr/>
            </p:nvGrpSpPr>
            <p:grpSpPr>
              <a:xfrm>
                <a:off x="4421951" y="2920495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0CC696D5-910A-2EEB-3AAF-2B805C2144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53B6918A-7DFA-9BF7-37C9-88B197C6FA8F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EB4ECDDF-2641-CA2B-CB11-86655B453375}"/>
                  </a:ext>
                </a:extLst>
              </p:cNvPr>
              <p:cNvGrpSpPr/>
              <p:nvPr/>
            </p:nvGrpSpPr>
            <p:grpSpPr>
              <a:xfrm>
                <a:off x="4503647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0F77A194-C45D-CFF4-740D-D51CCA7CD77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F1F6F45F-DD5B-8EA6-AE0E-FBF3E878EF4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CCA59F28-614E-EC3C-0D8C-2B69F4F5BFE0}"/>
                  </a:ext>
                </a:extLst>
              </p:cNvPr>
              <p:cNvGrpSpPr/>
              <p:nvPr/>
            </p:nvGrpSpPr>
            <p:grpSpPr>
              <a:xfrm>
                <a:off x="4605735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6E802C13-9990-A06A-C930-20F9356F015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842974B7-F407-62A7-627F-DC53282ABD8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5C9DFF2D-7F49-40AE-C93A-9643D2BF10C3}"/>
                  </a:ext>
                </a:extLst>
              </p:cNvPr>
              <p:cNvGrpSpPr/>
              <p:nvPr/>
            </p:nvGrpSpPr>
            <p:grpSpPr>
              <a:xfrm>
                <a:off x="4644110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B9748511-BEA6-7807-697B-CC6EBE1FF90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4479EC58-0306-E66A-AFDE-4D5693784058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202F8B00-5078-4193-38E1-7CA7589DEDE6}"/>
                  </a:ext>
                </a:extLst>
              </p:cNvPr>
              <p:cNvGrpSpPr/>
              <p:nvPr/>
            </p:nvGrpSpPr>
            <p:grpSpPr>
              <a:xfrm>
                <a:off x="4664501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EB18A3F5-EFC9-EA6C-1ED4-C057FDA10F8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7" name="Straight Connector 66">
                  <a:extLst>
                    <a:ext uri="{FF2B5EF4-FFF2-40B4-BE49-F238E27FC236}">
                      <a16:creationId xmlns:a16="http://schemas.microsoft.com/office/drawing/2014/main" id="{CD5DDCBD-7465-95E3-D41F-67A5A011BFE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933B34B0-33E0-6E23-681A-150544CA4F57}"/>
                  </a:ext>
                </a:extLst>
              </p:cNvPr>
              <p:cNvGrpSpPr/>
              <p:nvPr/>
            </p:nvGrpSpPr>
            <p:grpSpPr>
              <a:xfrm>
                <a:off x="4722372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FE0FF425-2D54-C5EC-2FE4-A87C5380B5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47C35F2A-BAB3-7352-78CC-EF824D99A83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E1410626-16D1-C8FF-1081-810C5ACBF279}"/>
                  </a:ext>
                </a:extLst>
              </p:cNvPr>
              <p:cNvGrpSpPr/>
              <p:nvPr/>
            </p:nvGrpSpPr>
            <p:grpSpPr>
              <a:xfrm>
                <a:off x="4766240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3F0A27E8-E087-0D43-3B8D-E615CC8E307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E9F3BFC6-699F-23DA-5788-E06E47124CE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EF4F5FD9-6CE9-9706-4676-D6E39F10504A}"/>
                  </a:ext>
                </a:extLst>
              </p:cNvPr>
              <p:cNvGrpSpPr/>
              <p:nvPr/>
            </p:nvGrpSpPr>
            <p:grpSpPr>
              <a:xfrm>
                <a:off x="4914034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FDF4C0F5-37E3-EFC7-036C-CEA827F3F07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22EA692C-5DB9-6A53-0212-AE970CF0BF2C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BF0B2A9F-A179-CF23-BA7F-3890708AC51E}"/>
                  </a:ext>
                </a:extLst>
              </p:cNvPr>
              <p:cNvGrpSpPr/>
              <p:nvPr/>
            </p:nvGrpSpPr>
            <p:grpSpPr>
              <a:xfrm>
                <a:off x="5025909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58" name="Straight Connector 57">
                  <a:extLst>
                    <a:ext uri="{FF2B5EF4-FFF2-40B4-BE49-F238E27FC236}">
                      <a16:creationId xmlns:a16="http://schemas.microsoft.com/office/drawing/2014/main" id="{56272A7D-76FF-DDF9-2077-02AD6F93E7B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007E1D7E-0318-4771-8BD4-5FE30F9194EE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4DEA69C7-B20B-1A10-CEB8-463B3BF7E126}"/>
                  </a:ext>
                </a:extLst>
              </p:cNvPr>
              <p:cNvGrpSpPr/>
              <p:nvPr/>
            </p:nvGrpSpPr>
            <p:grpSpPr>
              <a:xfrm>
                <a:off x="5146495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D7E60D45-BE22-8CDB-730A-C833EE7977F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1301BC90-A909-0838-6ADE-57E31A61D5D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2F19CFCB-51AF-7A5E-C6C2-223B0CCFAB54}"/>
                  </a:ext>
                </a:extLst>
              </p:cNvPr>
              <p:cNvGrpSpPr/>
              <p:nvPr/>
            </p:nvGrpSpPr>
            <p:grpSpPr>
              <a:xfrm>
                <a:off x="5512083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2A4B881F-8824-5A25-D8BC-7388B6E6EA69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084248F7-B740-CA28-E883-B19A847EBF2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5561BD38-6693-6814-6745-ABF6532F1DDD}"/>
                  </a:ext>
                </a:extLst>
              </p:cNvPr>
              <p:cNvGrpSpPr/>
              <p:nvPr/>
            </p:nvGrpSpPr>
            <p:grpSpPr>
              <a:xfrm>
                <a:off x="5607263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06119C39-7045-7C3A-93BE-F82B4C12229B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6AF8F26A-78E9-8A72-5677-924C819D308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D9B48467-DA96-88F7-092B-D5B767844FDB}"/>
                  </a:ext>
                </a:extLst>
              </p:cNvPr>
              <p:cNvGrpSpPr/>
              <p:nvPr/>
            </p:nvGrpSpPr>
            <p:grpSpPr>
              <a:xfrm>
                <a:off x="5854026" y="3001934"/>
                <a:ext cx="117534" cy="117534"/>
                <a:chOff x="3316647" y="2831052"/>
                <a:chExt cx="117534" cy="117534"/>
              </a:xfrm>
            </p:grpSpPr>
            <p:cxnSp>
              <p:nvCxnSpPr>
                <p:cNvPr id="50" name="Straight Connector 49">
                  <a:extLst>
                    <a:ext uri="{FF2B5EF4-FFF2-40B4-BE49-F238E27FC236}">
                      <a16:creationId xmlns:a16="http://schemas.microsoft.com/office/drawing/2014/main" id="{3A55BE23-F688-6993-26E1-41E29CCA483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375414" y="2831052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05877A0A-C052-8BB4-8C18-81FABC9425ED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rot="16200000">
                  <a:off x="3375414" y="2831053"/>
                  <a:ext cx="0" cy="117534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</p:grpSp>
      </p:grpSp>
      <p:sp>
        <p:nvSpPr>
          <p:cNvPr id="197" name="Text Box 15">
            <a:extLst>
              <a:ext uri="{FF2B5EF4-FFF2-40B4-BE49-F238E27FC236}">
                <a16:creationId xmlns:a16="http://schemas.microsoft.com/office/drawing/2014/main" id="{EC3C14CF-97DF-DFE6-EF70-12E131F42D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1203" y="6455876"/>
            <a:ext cx="2636739" cy="246221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asche L, et al. EHA 2024. </a:t>
            </a:r>
            <a:r>
              <a:rPr kumimoji="0" lang="en-US" altLang="en-U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str</a:t>
            </a: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P915.</a:t>
            </a:r>
          </a:p>
        </p:txBody>
      </p:sp>
    </p:spTree>
    <p:extLst>
      <p:ext uri="{BB962C8B-B14F-4D97-AF65-F5344CB8AC3E}">
        <p14:creationId xmlns:p14="http://schemas.microsoft.com/office/powerpoint/2010/main" val="2101894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F02A7-5493-6F35-3839-87B1A9F43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06" y="194449"/>
            <a:ext cx="11535684" cy="1103313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Phase </a:t>
            </a:r>
            <a:r>
              <a:rPr lang="en-US" sz="3200" dirty="0" err="1">
                <a:solidFill>
                  <a:srgbClr val="C00000"/>
                </a:solidFill>
              </a:rPr>
              <a:t>Ib</a:t>
            </a:r>
            <a:r>
              <a:rPr lang="en-US" sz="3200" dirty="0">
                <a:solidFill>
                  <a:srgbClr val="C00000"/>
                </a:solidFill>
              </a:rPr>
              <a:t>/II RedirecTT-1 Study: </a:t>
            </a:r>
            <a:r>
              <a:rPr lang="en-US" sz="3200" dirty="0" err="1">
                <a:solidFill>
                  <a:srgbClr val="C00000"/>
                </a:solidFill>
              </a:rPr>
              <a:t>Teclistamab</a:t>
            </a:r>
            <a:r>
              <a:rPr lang="en-US" sz="3200" dirty="0">
                <a:solidFill>
                  <a:srgbClr val="C00000"/>
                </a:solidFill>
              </a:rPr>
              <a:t> Plus </a:t>
            </a:r>
            <a:r>
              <a:rPr lang="en-US" sz="3200" dirty="0" err="1">
                <a:solidFill>
                  <a:srgbClr val="C00000"/>
                </a:solidFill>
              </a:rPr>
              <a:t>Talquetamab</a:t>
            </a:r>
            <a:r>
              <a:rPr lang="en-US" sz="3200" dirty="0">
                <a:solidFill>
                  <a:srgbClr val="C00000"/>
                </a:solidFill>
              </a:rPr>
              <a:t> in R/R Multiple Myelo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670B13-271A-5D1C-549B-CC6BA9CE82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356" y="1586265"/>
            <a:ext cx="4293837" cy="465068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0" i="0" dirty="0">
                <a:solidFill>
                  <a:srgbClr val="1D1C1D"/>
                </a:solidFill>
                <a:effectLst/>
                <a:latin typeface="Slack-Lato"/>
              </a:rPr>
              <a:t>A Phase 1b/2 Dose Escalation and Expansion Study of the Combination of the Bispecific T Cell Redirection Antibodies </a:t>
            </a:r>
            <a:r>
              <a:rPr lang="en-US" sz="1600" b="0" i="0" dirty="0" err="1">
                <a:solidFill>
                  <a:srgbClr val="1D1C1D"/>
                </a:solidFill>
                <a:effectLst/>
                <a:latin typeface="Slack-Lato"/>
              </a:rPr>
              <a:t>Talquetamab</a:t>
            </a:r>
            <a:r>
              <a:rPr lang="en-US" sz="1600" b="0" i="0" dirty="0">
                <a:solidFill>
                  <a:srgbClr val="1D1C1D"/>
                </a:solidFill>
                <a:effectLst/>
                <a:latin typeface="Slack-Lato"/>
              </a:rPr>
              <a:t> and </a:t>
            </a:r>
            <a:r>
              <a:rPr lang="en-US" sz="1600" b="0" i="0" dirty="0" err="1">
                <a:solidFill>
                  <a:srgbClr val="1D1C1D"/>
                </a:solidFill>
                <a:effectLst/>
                <a:latin typeface="Slack-Lato"/>
              </a:rPr>
              <a:t>Teclistamab</a:t>
            </a:r>
            <a:r>
              <a:rPr lang="en-US" sz="1600" b="0" i="0" dirty="0">
                <a:solidFill>
                  <a:srgbClr val="1D1C1D"/>
                </a:solidFill>
                <a:effectLst/>
                <a:latin typeface="Slack-Lato"/>
              </a:rPr>
              <a:t> in Participants With Relapsed or Refractory Multiple Myeloma</a:t>
            </a:r>
            <a:endParaRPr lang="en-US" sz="1600" dirty="0">
              <a:highlight>
                <a:srgbClr val="FFFF00"/>
              </a:highlight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Previous exposure to a PI, </a:t>
            </a:r>
            <a:r>
              <a:rPr lang="en-US" sz="1400" dirty="0" err="1"/>
              <a:t>IMiD</a:t>
            </a:r>
            <a:r>
              <a:rPr lang="en-US" sz="1400" dirty="0"/>
              <a:t>, and anti-CD38 </a:t>
            </a:r>
            <a:r>
              <a:rPr lang="en-US" sz="1400" dirty="0" err="1"/>
              <a:t>mAb</a:t>
            </a:r>
            <a:r>
              <a:rPr lang="en-US" sz="1400" dirty="0"/>
              <a:t> and refractory to last line of therapy</a:t>
            </a:r>
          </a:p>
          <a:p>
            <a:pPr lvl="1">
              <a:spcBef>
                <a:spcPts val="0"/>
              </a:spcBef>
            </a:pPr>
            <a:r>
              <a:rPr lang="en-US" sz="1400" dirty="0"/>
              <a:t>Median prior LOT: 4 (1-11); extramedullary plasmacytomas: 37.6%</a:t>
            </a:r>
          </a:p>
          <a:p>
            <a:pPr>
              <a:spcBef>
                <a:spcPts val="0"/>
              </a:spcBef>
            </a:pPr>
            <a:r>
              <a:rPr lang="en-US" sz="2000" b="1" dirty="0"/>
              <a:t>Primary endpoint: </a:t>
            </a:r>
            <a:r>
              <a:rPr lang="en-US" sz="2000" dirty="0"/>
              <a:t>dose-limiting toxic effects; </a:t>
            </a:r>
          </a:p>
          <a:p>
            <a:pPr>
              <a:spcBef>
                <a:spcPts val="0"/>
              </a:spcBef>
            </a:pPr>
            <a:r>
              <a:rPr lang="en-US" sz="2000" b="1" dirty="0"/>
              <a:t>Secondary endpoints:</a:t>
            </a:r>
            <a:r>
              <a:rPr lang="en-US" sz="2000" dirty="0"/>
              <a:t> overall response (partial response or better), </a:t>
            </a:r>
            <a:r>
              <a:rPr lang="en-US" sz="2000" dirty="0" err="1"/>
              <a:t>dor</a:t>
            </a:r>
            <a:r>
              <a:rPr lang="en-US" sz="2000" dirty="0"/>
              <a:t>, time to response, pharmacokinetics, pharmacodynamics, and immunogenicity.</a:t>
            </a:r>
          </a:p>
        </p:txBody>
      </p:sp>
      <p:grpSp>
        <p:nvGrpSpPr>
          <p:cNvPr id="69" name="Group 8">
            <a:extLst>
              <a:ext uri="{FF2B5EF4-FFF2-40B4-BE49-F238E27FC236}">
                <a16:creationId xmlns:a16="http://schemas.microsoft.com/office/drawing/2014/main" id="{F821E16C-8942-0E59-CD56-09DB6C0118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52288" y="1436145"/>
            <a:ext cx="7121049" cy="4472285"/>
            <a:chOff x="3115" y="892"/>
            <a:chExt cx="3745" cy="2352"/>
          </a:xfrm>
        </p:grpSpPr>
        <p:sp>
          <p:nvSpPr>
            <p:cNvPr id="70" name="AutoShape 7">
              <a:extLst>
                <a:ext uri="{FF2B5EF4-FFF2-40B4-BE49-F238E27FC236}">
                  <a16:creationId xmlns:a16="http://schemas.microsoft.com/office/drawing/2014/main" id="{B6174E6F-9E79-5F35-70E4-7115505E50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20" y="892"/>
              <a:ext cx="3640" cy="2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5129" name="Picture 9">
              <a:extLst>
                <a:ext uri="{FF2B5EF4-FFF2-40B4-BE49-F238E27FC236}">
                  <a16:creationId xmlns:a16="http://schemas.microsoft.com/office/drawing/2014/main" id="{50F32A22-79CB-8F10-1032-F95786C413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71" b="3335"/>
            <a:stretch/>
          </p:blipFill>
          <p:spPr bwMode="auto">
            <a:xfrm>
              <a:off x="3115" y="892"/>
              <a:ext cx="3640" cy="2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495480E9-3F51-B59C-C719-8E3AB8E8CE72}"/>
              </a:ext>
            </a:extLst>
          </p:cNvPr>
          <p:cNvSpPr txBox="1"/>
          <p:nvPr/>
        </p:nvSpPr>
        <p:spPr bwMode="auto">
          <a:xfrm>
            <a:off x="6057482" y="6611779"/>
            <a:ext cx="61345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GB" sz="1000" b="0" i="0" dirty="0">
                <a:solidFill>
                  <a:schemeClr val="bg1"/>
                </a:solidFill>
                <a:effectLst/>
                <a:latin typeface="+mj-lt"/>
              </a:rPr>
              <a:t>Cohen YC, et al. N Engl J Med 2025;392:138-49.</a:t>
            </a:r>
            <a:endParaRPr lang="el-GR" sz="1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925731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79A84B-4C1B-1986-1869-4BA7AC6EBC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B88C4-6D5A-0EB7-444A-7ED54F5F0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6" y="26564"/>
            <a:ext cx="12114804" cy="1103313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Phase </a:t>
            </a:r>
            <a:r>
              <a:rPr lang="en-US" sz="3200" dirty="0" err="1">
                <a:solidFill>
                  <a:srgbClr val="C00000"/>
                </a:solidFill>
              </a:rPr>
              <a:t>Ib</a:t>
            </a:r>
            <a:r>
              <a:rPr lang="en-US" sz="3200" dirty="0">
                <a:solidFill>
                  <a:srgbClr val="C00000"/>
                </a:solidFill>
              </a:rPr>
              <a:t>/II RedirectTT-1 Study: </a:t>
            </a:r>
            <a:r>
              <a:rPr lang="en-US" sz="3200" dirty="0" err="1">
                <a:solidFill>
                  <a:srgbClr val="C00000"/>
                </a:solidFill>
              </a:rPr>
              <a:t>Teclistamab</a:t>
            </a:r>
            <a:r>
              <a:rPr lang="en-US" sz="3200" dirty="0">
                <a:solidFill>
                  <a:srgbClr val="C00000"/>
                </a:solidFill>
              </a:rPr>
              <a:t> Plus </a:t>
            </a:r>
            <a:r>
              <a:rPr lang="en-US" sz="3200" dirty="0" err="1">
                <a:solidFill>
                  <a:srgbClr val="C00000"/>
                </a:solidFill>
              </a:rPr>
              <a:t>Talquetamab</a:t>
            </a:r>
            <a:r>
              <a:rPr lang="en-US" sz="3200" dirty="0">
                <a:solidFill>
                  <a:srgbClr val="C00000"/>
                </a:solidFill>
              </a:rPr>
              <a:t> in R/R Multiple Myeloma – </a:t>
            </a:r>
            <a:r>
              <a:rPr lang="en-US" sz="3200" dirty="0" err="1">
                <a:solidFill>
                  <a:srgbClr val="C00000"/>
                </a:solidFill>
              </a:rPr>
              <a:t>DoR</a:t>
            </a:r>
            <a:r>
              <a:rPr lang="en-US" sz="3200" dirty="0">
                <a:solidFill>
                  <a:srgbClr val="C00000"/>
                </a:solidFill>
              </a:rPr>
              <a:t> and PFS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68A88EB7-868B-C01A-5DFE-0CC9CB819C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4320" y="1553871"/>
            <a:ext cx="4927395" cy="4599859"/>
            <a:chOff x="97" y="761"/>
            <a:chExt cx="2061" cy="1924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5DF25D20-384B-B6F3-3CB0-97030338A7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7" y="761"/>
              <a:ext cx="2061" cy="19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6149" name="Picture 5">
              <a:extLst>
                <a:ext uri="{FF2B5EF4-FFF2-40B4-BE49-F238E27FC236}">
                  <a16:creationId xmlns:a16="http://schemas.microsoft.com/office/drawing/2014/main" id="{8DAF9996-C20B-0DBA-9B03-676AE3E23B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" y="761"/>
              <a:ext cx="2065" cy="1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89749B1-A99B-B030-08A0-10635DE5E78E}"/>
              </a:ext>
            </a:extLst>
          </p:cNvPr>
          <p:cNvSpPr txBox="1"/>
          <p:nvPr/>
        </p:nvSpPr>
        <p:spPr bwMode="auto">
          <a:xfrm>
            <a:off x="6057482" y="6611779"/>
            <a:ext cx="61345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GB" sz="1000" b="0" i="0" dirty="0">
                <a:solidFill>
                  <a:schemeClr val="bg1"/>
                </a:solidFill>
                <a:effectLst/>
                <a:latin typeface="+mj-lt"/>
              </a:rPr>
              <a:t>Cohen YC, et al. N Engl J Med 2025;392:138-49.</a:t>
            </a:r>
            <a:endParaRPr lang="el-GR" sz="10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07A824DC-9F48-7A87-E8D3-81C0E8D1A9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11278" y="1553871"/>
            <a:ext cx="5054600" cy="4633913"/>
            <a:chOff x="4000" y="1058"/>
            <a:chExt cx="3184" cy="2919"/>
          </a:xfrm>
        </p:grpSpPr>
        <p:sp>
          <p:nvSpPr>
            <p:cNvPr id="4" name="AutoShape 3">
              <a:extLst>
                <a:ext uri="{FF2B5EF4-FFF2-40B4-BE49-F238E27FC236}">
                  <a16:creationId xmlns:a16="http://schemas.microsoft.com/office/drawing/2014/main" id="{EA46A558-BA81-808F-8DC7-C868B3D1D5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00" y="1058"/>
              <a:ext cx="3184" cy="2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7173" name="Picture 5">
              <a:extLst>
                <a:ext uri="{FF2B5EF4-FFF2-40B4-BE49-F238E27FC236}">
                  <a16:creationId xmlns:a16="http://schemas.microsoft.com/office/drawing/2014/main" id="{627AF27D-9DB6-ECAC-3077-EB0174C9C3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" y="1058"/>
              <a:ext cx="3190" cy="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45B8D072-6424-6C0F-39CD-5EF15793EF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17075" y="798513"/>
            <a:ext cx="2497138" cy="1458912"/>
            <a:chOff x="6058" y="503"/>
            <a:chExt cx="1573" cy="919"/>
          </a:xfrm>
        </p:grpSpPr>
        <p:sp>
          <p:nvSpPr>
            <p:cNvPr id="12" name="AutoShape 7">
              <a:extLst>
                <a:ext uri="{FF2B5EF4-FFF2-40B4-BE49-F238E27FC236}">
                  <a16:creationId xmlns:a16="http://schemas.microsoft.com/office/drawing/2014/main" id="{1225B5F6-AEA2-3CDA-B8EE-C71D0EE643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058" y="503"/>
              <a:ext cx="1573" cy="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7177" name="Picture 9">
              <a:extLst>
                <a:ext uri="{FF2B5EF4-FFF2-40B4-BE49-F238E27FC236}">
                  <a16:creationId xmlns:a16="http://schemas.microsoft.com/office/drawing/2014/main" id="{57F555AF-78D9-FA19-E8C5-4EB2BD930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8" y="503"/>
              <a:ext cx="1577" cy="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50874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03AF41-4E04-6925-13ED-E65E91956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5FE5B-AFD8-6318-FDA1-A71A2D4F4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6" y="26564"/>
            <a:ext cx="12114804" cy="1103313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Phase </a:t>
            </a:r>
            <a:r>
              <a:rPr lang="en-US" sz="3200" dirty="0" err="1">
                <a:solidFill>
                  <a:srgbClr val="C00000"/>
                </a:solidFill>
              </a:rPr>
              <a:t>Ib</a:t>
            </a:r>
            <a:r>
              <a:rPr lang="en-US" sz="3200" dirty="0">
                <a:solidFill>
                  <a:srgbClr val="C00000"/>
                </a:solidFill>
              </a:rPr>
              <a:t>/II RedirectTT-1 Study: </a:t>
            </a:r>
            <a:r>
              <a:rPr lang="en-US" sz="3200" dirty="0" err="1">
                <a:solidFill>
                  <a:srgbClr val="C00000"/>
                </a:solidFill>
              </a:rPr>
              <a:t>Teclistamab</a:t>
            </a:r>
            <a:r>
              <a:rPr lang="en-US" sz="3200" dirty="0">
                <a:solidFill>
                  <a:srgbClr val="C00000"/>
                </a:solidFill>
              </a:rPr>
              <a:t> Plus </a:t>
            </a:r>
            <a:r>
              <a:rPr lang="en-US" sz="3200" dirty="0" err="1">
                <a:solidFill>
                  <a:srgbClr val="C00000"/>
                </a:solidFill>
              </a:rPr>
              <a:t>Talquetamab</a:t>
            </a:r>
            <a:r>
              <a:rPr lang="en-US" sz="3200" dirty="0">
                <a:solidFill>
                  <a:srgbClr val="C00000"/>
                </a:solidFill>
              </a:rPr>
              <a:t> in R/R Multiple Myeloma – Safe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733889-5F68-74B6-26C0-AF7BA789F7B6}"/>
              </a:ext>
            </a:extLst>
          </p:cNvPr>
          <p:cNvSpPr txBox="1"/>
          <p:nvPr/>
        </p:nvSpPr>
        <p:spPr bwMode="auto">
          <a:xfrm>
            <a:off x="6057482" y="6611779"/>
            <a:ext cx="61345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GB" sz="1000" b="0" i="0" dirty="0">
                <a:solidFill>
                  <a:schemeClr val="bg1"/>
                </a:solidFill>
                <a:effectLst/>
                <a:latin typeface="+mj-lt"/>
              </a:rPr>
              <a:t>Cohen YC, et al. N Engl J Med 2025;392:138-49.</a:t>
            </a:r>
            <a:endParaRPr lang="el-GR" sz="10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4" name="Group 8">
            <a:extLst>
              <a:ext uri="{FF2B5EF4-FFF2-40B4-BE49-F238E27FC236}">
                <a16:creationId xmlns:a16="http://schemas.microsoft.com/office/drawing/2014/main" id="{AD0DFD2F-E6C9-37C0-E932-0FD3AAD9D9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49688" y="1182688"/>
            <a:ext cx="4416425" cy="5551487"/>
            <a:chOff x="2425" y="745"/>
            <a:chExt cx="2782" cy="3497"/>
          </a:xfrm>
        </p:grpSpPr>
        <p:sp>
          <p:nvSpPr>
            <p:cNvPr id="15" name="AutoShape 7">
              <a:extLst>
                <a:ext uri="{FF2B5EF4-FFF2-40B4-BE49-F238E27FC236}">
                  <a16:creationId xmlns:a16="http://schemas.microsoft.com/office/drawing/2014/main" id="{B58F3267-E029-5E7D-097C-E1E95531CB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25" y="745"/>
              <a:ext cx="2782" cy="3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6153" name="Picture 9">
              <a:extLst>
                <a:ext uri="{FF2B5EF4-FFF2-40B4-BE49-F238E27FC236}">
                  <a16:creationId xmlns:a16="http://schemas.microsoft.com/office/drawing/2014/main" id="{1C38DE7A-7741-A6BF-84F5-70DFEBF266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5" y="745"/>
              <a:ext cx="2787" cy="3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39157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45D8DFF-175A-50AA-5D13-5514D4FC8A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E6B9C-0A7B-5A24-ED6E-770937EDA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470" y="195455"/>
            <a:ext cx="11851529" cy="535045"/>
          </a:xfrm>
        </p:spPr>
        <p:txBody>
          <a:bodyPr>
            <a:normAutofit/>
          </a:bodyPr>
          <a:lstStyle/>
          <a:p>
            <a:pPr lvl="0"/>
            <a:r>
              <a:rPr lang="en-GB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TITUDE-4: Cilta-cel vs SoC in early RRMM - Study Design</a:t>
            </a:r>
            <a:endParaRPr lang="en-US" sz="3200" b="1" noProof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" name="Straight Arrow Connector 3">
            <a:extLst>
              <a:ext uri="{FF2B5EF4-FFF2-40B4-BE49-F238E27FC236}">
                <a16:creationId xmlns:a16="http://schemas.microsoft.com/office/drawing/2014/main" id="{3404A0D3-396B-0659-AFDE-E66DBCF66859}"/>
              </a:ext>
            </a:extLst>
          </p:cNvPr>
          <p:cNvCxnSpPr>
            <a:cxnSpLocks/>
          </p:cNvCxnSpPr>
          <p:nvPr/>
        </p:nvCxnSpPr>
        <p:spPr>
          <a:xfrm flipV="1">
            <a:off x="4259437" y="4815339"/>
            <a:ext cx="0" cy="25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63E8C8-B77A-94F7-AAD7-C38C8B2D3442}"/>
              </a:ext>
            </a:extLst>
          </p:cNvPr>
          <p:cNvSpPr>
            <a:spLocks noGrp="1"/>
          </p:cNvSpPr>
          <p:nvPr/>
        </p:nvSpPr>
        <p:spPr>
          <a:xfrm>
            <a:off x="3837754" y="5057700"/>
            <a:ext cx="1121161" cy="619103"/>
          </a:xfrm>
          <a:prstGeom prst="roundRect">
            <a:avLst/>
          </a:prstGeom>
          <a:solidFill>
            <a:schemeClr val="bg2"/>
          </a:solidFill>
          <a:ln>
            <a:solidFill>
              <a:schemeClr val="accent3"/>
            </a:solidFill>
          </a:ln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rt of study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eatment</a:t>
            </a:r>
            <a:endParaRPr kumimoji="0" lang="en-AU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OpenSans"/>
            </a:endParaRPr>
          </a:p>
        </p:txBody>
      </p:sp>
      <p:cxnSp>
        <p:nvCxnSpPr>
          <p:cNvPr id="13" name="Straight Arrow Connector 5">
            <a:extLst>
              <a:ext uri="{FF2B5EF4-FFF2-40B4-BE49-F238E27FC236}">
                <a16:creationId xmlns:a16="http://schemas.microsoft.com/office/drawing/2014/main" id="{1D56EB1B-2E00-8818-7FF4-42B4B0EE667E}"/>
              </a:ext>
            </a:extLst>
          </p:cNvPr>
          <p:cNvCxnSpPr>
            <a:cxnSpLocks/>
          </p:cNvCxnSpPr>
          <p:nvPr/>
        </p:nvCxnSpPr>
        <p:spPr>
          <a:xfrm flipV="1">
            <a:off x="2619468" y="4808104"/>
            <a:ext cx="0" cy="2584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1B6A672-10EA-13A5-63AB-9D310E7D045E}"/>
              </a:ext>
            </a:extLst>
          </p:cNvPr>
          <p:cNvSpPr>
            <a:spLocks noGrp="1"/>
          </p:cNvSpPr>
          <p:nvPr/>
        </p:nvSpPr>
        <p:spPr>
          <a:xfrm>
            <a:off x="2301718" y="5057700"/>
            <a:ext cx="1438041" cy="619103"/>
          </a:xfrm>
          <a:prstGeom prst="roundRect">
            <a:avLst/>
          </a:prstGeom>
          <a:solidFill>
            <a:schemeClr val="bg2"/>
          </a:solidFill>
          <a:ln>
            <a:solidFill>
              <a:schemeClr val="accent3"/>
            </a:solidFill>
          </a:ln>
        </p:spPr>
        <p:txBody>
          <a:bodyPr vert="horz" lIns="0" tIns="45720" rIns="91440" bIns="45720" rtlCol="0" anchor="ctr">
            <a:noAutofit/>
          </a:bodyPr>
          <a:lstStyle>
            <a:defPPr>
              <a:defRPr lang="en-US"/>
            </a:defPPr>
            <a:lvl1pPr marL="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972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459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9456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4320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9184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4048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89120" algn="l" defTabSz="1097280" rtl="0" eaLnBrk="1" latinLnBrk="0" hangingPunct="1"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rt of efficacy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dpoint analyses</a:t>
            </a:r>
            <a:endParaRPr kumimoji="0" lang="en-AU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OpenSans"/>
            </a:endParaRPr>
          </a:p>
        </p:txBody>
      </p:sp>
      <p:sp>
        <p:nvSpPr>
          <p:cNvPr id="20" name="Freeform 43">
            <a:extLst>
              <a:ext uri="{FF2B5EF4-FFF2-40B4-BE49-F238E27FC236}">
                <a16:creationId xmlns:a16="http://schemas.microsoft.com/office/drawing/2014/main" id="{58AB85F5-4F81-BBDB-719B-F9EF574051EC}"/>
              </a:ext>
            </a:extLst>
          </p:cNvPr>
          <p:cNvSpPr/>
          <p:nvPr/>
        </p:nvSpPr>
        <p:spPr>
          <a:xfrm>
            <a:off x="5056910" y="4696960"/>
            <a:ext cx="3279737" cy="587927"/>
          </a:xfrm>
          <a:custGeom>
            <a:avLst/>
            <a:gdLst>
              <a:gd name="connsiteX0" fmla="*/ 0 w 5012988"/>
              <a:gd name="connsiteY0" fmla="*/ 32426 h 1238655"/>
              <a:gd name="connsiteX1" fmla="*/ 0 w 5012988"/>
              <a:gd name="connsiteY1" fmla="*/ 1238655 h 1238655"/>
              <a:gd name="connsiteX2" fmla="*/ 155643 w 5012988"/>
              <a:gd name="connsiteY2" fmla="*/ 1238655 h 1238655"/>
              <a:gd name="connsiteX3" fmla="*/ 4935166 w 5012988"/>
              <a:gd name="connsiteY3" fmla="*/ 1238655 h 1238655"/>
              <a:gd name="connsiteX4" fmla="*/ 4935166 w 5012988"/>
              <a:gd name="connsiteY4" fmla="*/ 0 h 1238655"/>
              <a:gd name="connsiteX5" fmla="*/ 5012988 w 5012988"/>
              <a:gd name="connsiteY5" fmla="*/ 0 h 1238655"/>
              <a:gd name="connsiteX6" fmla="*/ 395592 w 5012988"/>
              <a:gd name="connsiteY6" fmla="*/ 201038 h 1238655"/>
              <a:gd name="connsiteX7" fmla="*/ 0 w 5012988"/>
              <a:gd name="connsiteY7" fmla="*/ 32426 h 1238655"/>
              <a:gd name="connsiteX0" fmla="*/ 395592 w 5012988"/>
              <a:gd name="connsiteY0" fmla="*/ 201038 h 1238655"/>
              <a:gd name="connsiteX1" fmla="*/ 0 w 5012988"/>
              <a:gd name="connsiteY1" fmla="*/ 32426 h 1238655"/>
              <a:gd name="connsiteX2" fmla="*/ 0 w 5012988"/>
              <a:gd name="connsiteY2" fmla="*/ 1238655 h 1238655"/>
              <a:gd name="connsiteX3" fmla="*/ 155643 w 5012988"/>
              <a:gd name="connsiteY3" fmla="*/ 1238655 h 1238655"/>
              <a:gd name="connsiteX4" fmla="*/ 4935166 w 5012988"/>
              <a:gd name="connsiteY4" fmla="*/ 1238655 h 1238655"/>
              <a:gd name="connsiteX5" fmla="*/ 4935166 w 5012988"/>
              <a:gd name="connsiteY5" fmla="*/ 0 h 1238655"/>
              <a:gd name="connsiteX6" fmla="*/ 5012988 w 5012988"/>
              <a:gd name="connsiteY6" fmla="*/ 0 h 1238655"/>
              <a:gd name="connsiteX7" fmla="*/ 487032 w 5012988"/>
              <a:gd name="connsiteY7" fmla="*/ 292478 h 1238655"/>
              <a:gd name="connsiteX0" fmla="*/ 395592 w 5012988"/>
              <a:gd name="connsiteY0" fmla="*/ 201038 h 1238655"/>
              <a:gd name="connsiteX1" fmla="*/ 0 w 5012988"/>
              <a:gd name="connsiteY1" fmla="*/ 32426 h 1238655"/>
              <a:gd name="connsiteX2" fmla="*/ 0 w 5012988"/>
              <a:gd name="connsiteY2" fmla="*/ 1238655 h 1238655"/>
              <a:gd name="connsiteX3" fmla="*/ 155643 w 5012988"/>
              <a:gd name="connsiteY3" fmla="*/ 1238655 h 1238655"/>
              <a:gd name="connsiteX4" fmla="*/ 4935166 w 5012988"/>
              <a:gd name="connsiteY4" fmla="*/ 1238655 h 1238655"/>
              <a:gd name="connsiteX5" fmla="*/ 4935166 w 5012988"/>
              <a:gd name="connsiteY5" fmla="*/ 0 h 1238655"/>
              <a:gd name="connsiteX6" fmla="*/ 5012988 w 5012988"/>
              <a:gd name="connsiteY6" fmla="*/ 0 h 1238655"/>
              <a:gd name="connsiteX0" fmla="*/ 0 w 5012988"/>
              <a:gd name="connsiteY0" fmla="*/ 32426 h 1238655"/>
              <a:gd name="connsiteX1" fmla="*/ 0 w 5012988"/>
              <a:gd name="connsiteY1" fmla="*/ 1238655 h 1238655"/>
              <a:gd name="connsiteX2" fmla="*/ 155643 w 5012988"/>
              <a:gd name="connsiteY2" fmla="*/ 1238655 h 1238655"/>
              <a:gd name="connsiteX3" fmla="*/ 4935166 w 5012988"/>
              <a:gd name="connsiteY3" fmla="*/ 1238655 h 1238655"/>
              <a:gd name="connsiteX4" fmla="*/ 4935166 w 5012988"/>
              <a:gd name="connsiteY4" fmla="*/ 0 h 1238655"/>
              <a:gd name="connsiteX5" fmla="*/ 5012988 w 5012988"/>
              <a:gd name="connsiteY5" fmla="*/ 0 h 1238655"/>
              <a:gd name="connsiteX0" fmla="*/ 0 w 4935166"/>
              <a:gd name="connsiteY0" fmla="*/ 32426 h 1238655"/>
              <a:gd name="connsiteX1" fmla="*/ 0 w 4935166"/>
              <a:gd name="connsiteY1" fmla="*/ 1238655 h 1238655"/>
              <a:gd name="connsiteX2" fmla="*/ 155643 w 4935166"/>
              <a:gd name="connsiteY2" fmla="*/ 1238655 h 1238655"/>
              <a:gd name="connsiteX3" fmla="*/ 4935166 w 4935166"/>
              <a:gd name="connsiteY3" fmla="*/ 1238655 h 1238655"/>
              <a:gd name="connsiteX4" fmla="*/ 4935166 w 4935166"/>
              <a:gd name="connsiteY4" fmla="*/ 0 h 1238655"/>
              <a:gd name="connsiteX0" fmla="*/ 0 w 4935166"/>
              <a:gd name="connsiteY0" fmla="*/ 32426 h 1238655"/>
              <a:gd name="connsiteX1" fmla="*/ 0 w 4935166"/>
              <a:gd name="connsiteY1" fmla="*/ 1238655 h 1238655"/>
              <a:gd name="connsiteX2" fmla="*/ 4935166 w 4935166"/>
              <a:gd name="connsiteY2" fmla="*/ 1238655 h 1238655"/>
              <a:gd name="connsiteX3" fmla="*/ 4935166 w 4935166"/>
              <a:gd name="connsiteY3" fmla="*/ 0 h 1238655"/>
              <a:gd name="connsiteX0" fmla="*/ 0 w 4935166"/>
              <a:gd name="connsiteY0" fmla="*/ 118998 h 1238655"/>
              <a:gd name="connsiteX1" fmla="*/ 0 w 4935166"/>
              <a:gd name="connsiteY1" fmla="*/ 1238655 h 1238655"/>
              <a:gd name="connsiteX2" fmla="*/ 4935166 w 4935166"/>
              <a:gd name="connsiteY2" fmla="*/ 1238655 h 1238655"/>
              <a:gd name="connsiteX3" fmla="*/ 4935166 w 4935166"/>
              <a:gd name="connsiteY3" fmla="*/ 0 h 1238655"/>
              <a:gd name="connsiteX0" fmla="*/ 0 w 4935166"/>
              <a:gd name="connsiteY0" fmla="*/ 0 h 1638053"/>
              <a:gd name="connsiteX1" fmla="*/ 0 w 4935166"/>
              <a:gd name="connsiteY1" fmla="*/ 1638053 h 1638053"/>
              <a:gd name="connsiteX2" fmla="*/ 4935166 w 4935166"/>
              <a:gd name="connsiteY2" fmla="*/ 1638053 h 1638053"/>
              <a:gd name="connsiteX3" fmla="*/ 4935166 w 4935166"/>
              <a:gd name="connsiteY3" fmla="*/ 399398 h 163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35166" h="1638053">
                <a:moveTo>
                  <a:pt x="0" y="0"/>
                </a:moveTo>
                <a:lnTo>
                  <a:pt x="0" y="1638053"/>
                </a:lnTo>
                <a:lnTo>
                  <a:pt x="4935166" y="1638053"/>
                </a:lnTo>
                <a:lnTo>
                  <a:pt x="4935166" y="399398"/>
                </a:lnTo>
              </a:path>
            </a:pathLst>
          </a:custGeom>
          <a:noFill/>
          <a:ln w="95250" cap="sq" cmpd="sng" algn="ctr">
            <a:solidFill>
              <a:srgbClr val="777A80"/>
            </a:solidFill>
            <a:prstDash val="solid"/>
            <a:miter lim="800000"/>
            <a:tailEnd type="triangle" w="sm" len="sm"/>
          </a:ln>
          <a:effectLst/>
        </p:spPr>
        <p:txBody>
          <a:bodyPr rtlCol="0" anchor="ctr"/>
          <a:lstStyle/>
          <a:p>
            <a:pPr marL="0" marR="0" lvl="0" indent="0" algn="ctr" defTabSz="7619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ounded Rectangle 36">
            <a:extLst>
              <a:ext uri="{FF2B5EF4-FFF2-40B4-BE49-F238E27FC236}">
                <a16:creationId xmlns:a16="http://schemas.microsoft.com/office/drawing/2014/main" id="{8600DC98-FC94-6EC2-F5E0-CBFE29CDF20C}"/>
              </a:ext>
            </a:extLst>
          </p:cNvPr>
          <p:cNvSpPr/>
          <p:nvPr/>
        </p:nvSpPr>
        <p:spPr>
          <a:xfrm>
            <a:off x="5244688" y="4937337"/>
            <a:ext cx="2904179" cy="239532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7619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-cell transduction and expansion to manufacture cilta-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l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AR-T cells</a:t>
            </a:r>
          </a:p>
        </p:txBody>
      </p:sp>
      <p:sp>
        <p:nvSpPr>
          <p:cNvPr id="23" name="Right Arrow 23">
            <a:extLst>
              <a:ext uri="{FF2B5EF4-FFF2-40B4-BE49-F238E27FC236}">
                <a16:creationId xmlns:a16="http://schemas.microsoft.com/office/drawing/2014/main" id="{F39BD49B-1C4A-0A4D-9941-79E646544470}"/>
              </a:ext>
            </a:extLst>
          </p:cNvPr>
          <p:cNvSpPr/>
          <p:nvPr/>
        </p:nvSpPr>
        <p:spPr>
          <a:xfrm>
            <a:off x="1957681" y="3037141"/>
            <a:ext cx="368314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ight Arrow 23">
            <a:extLst>
              <a:ext uri="{FF2B5EF4-FFF2-40B4-BE49-F238E27FC236}">
                <a16:creationId xmlns:a16="http://schemas.microsoft.com/office/drawing/2014/main" id="{1D6C1A80-B848-6E20-17BA-55FED6DB13E8}"/>
              </a:ext>
            </a:extLst>
          </p:cNvPr>
          <p:cNvSpPr/>
          <p:nvPr/>
        </p:nvSpPr>
        <p:spPr>
          <a:xfrm>
            <a:off x="10612105" y="3564757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ight Arrow 23">
            <a:extLst>
              <a:ext uri="{FF2B5EF4-FFF2-40B4-BE49-F238E27FC236}">
                <a16:creationId xmlns:a16="http://schemas.microsoft.com/office/drawing/2014/main" id="{AC66FCE0-AFBE-0A82-4C66-D0F4F3AC88DE}"/>
              </a:ext>
            </a:extLst>
          </p:cNvPr>
          <p:cNvSpPr/>
          <p:nvPr/>
        </p:nvSpPr>
        <p:spPr>
          <a:xfrm>
            <a:off x="9277115" y="3561032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Right Arrow 23">
            <a:extLst>
              <a:ext uri="{FF2B5EF4-FFF2-40B4-BE49-F238E27FC236}">
                <a16:creationId xmlns:a16="http://schemas.microsoft.com/office/drawing/2014/main" id="{B5F748A0-2A2D-CDBE-5683-5C434FA9480D}"/>
              </a:ext>
            </a:extLst>
          </p:cNvPr>
          <p:cNvSpPr/>
          <p:nvPr/>
        </p:nvSpPr>
        <p:spPr>
          <a:xfrm>
            <a:off x="10607840" y="1762121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ight Arrow 23">
            <a:extLst>
              <a:ext uri="{FF2B5EF4-FFF2-40B4-BE49-F238E27FC236}">
                <a16:creationId xmlns:a16="http://schemas.microsoft.com/office/drawing/2014/main" id="{E83C1AA6-31A6-BE5E-B6B7-470A32B9D289}"/>
              </a:ext>
            </a:extLst>
          </p:cNvPr>
          <p:cNvSpPr/>
          <p:nvPr/>
        </p:nvSpPr>
        <p:spPr>
          <a:xfrm>
            <a:off x="6510124" y="3554889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ight Arrow 23">
            <a:extLst>
              <a:ext uri="{FF2B5EF4-FFF2-40B4-BE49-F238E27FC236}">
                <a16:creationId xmlns:a16="http://schemas.microsoft.com/office/drawing/2014/main" id="{8B4C9233-B165-9748-A8B4-5F0E27B2B657}"/>
              </a:ext>
            </a:extLst>
          </p:cNvPr>
          <p:cNvSpPr/>
          <p:nvPr/>
        </p:nvSpPr>
        <p:spPr>
          <a:xfrm>
            <a:off x="7860842" y="3547244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ight Arrow 23">
            <a:extLst>
              <a:ext uri="{FF2B5EF4-FFF2-40B4-BE49-F238E27FC236}">
                <a16:creationId xmlns:a16="http://schemas.microsoft.com/office/drawing/2014/main" id="{042B524B-D1B3-9F65-65BC-C68FC3D627F9}"/>
              </a:ext>
            </a:extLst>
          </p:cNvPr>
          <p:cNvSpPr/>
          <p:nvPr/>
        </p:nvSpPr>
        <p:spPr>
          <a:xfrm>
            <a:off x="5193310" y="3554889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ight Arrow 23">
            <a:extLst>
              <a:ext uri="{FF2B5EF4-FFF2-40B4-BE49-F238E27FC236}">
                <a16:creationId xmlns:a16="http://schemas.microsoft.com/office/drawing/2014/main" id="{89B42B60-7AE8-BE88-E4BE-328313CF26F3}"/>
              </a:ext>
            </a:extLst>
          </p:cNvPr>
          <p:cNvSpPr/>
          <p:nvPr/>
        </p:nvSpPr>
        <p:spPr>
          <a:xfrm>
            <a:off x="3889259" y="3554889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: Rounded Corners 65">
            <a:extLst>
              <a:ext uri="{FF2B5EF4-FFF2-40B4-BE49-F238E27FC236}">
                <a16:creationId xmlns:a16="http://schemas.microsoft.com/office/drawing/2014/main" id="{A5A27088-DE78-C67C-256E-C24D2AF11548}"/>
              </a:ext>
            </a:extLst>
          </p:cNvPr>
          <p:cNvSpPr/>
          <p:nvPr/>
        </p:nvSpPr>
        <p:spPr>
          <a:xfrm rot="5400000">
            <a:off x="3579736" y="3199570"/>
            <a:ext cx="2182964" cy="1061018"/>
          </a:xfrm>
          <a:prstGeom prst="roundRect">
            <a:avLst/>
          </a:prstGeom>
          <a:solidFill>
            <a:srgbClr val="003479"/>
          </a:solidFill>
          <a:ln>
            <a:noFill/>
          </a:ln>
          <a:effectLst/>
        </p:spPr>
        <p:txBody>
          <a:bodyPr vert="vert270" lIns="0" tIns="0" rIns="0" bIns="0" rtlCol="0" anchor="ctr"/>
          <a:lstStyle/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heresis</a:t>
            </a:r>
          </a:p>
        </p:txBody>
      </p:sp>
      <p:sp>
        <p:nvSpPr>
          <p:cNvPr id="33" name="Rectangle: Rounded Corners 66">
            <a:extLst>
              <a:ext uri="{FF2B5EF4-FFF2-40B4-BE49-F238E27FC236}">
                <a16:creationId xmlns:a16="http://schemas.microsoft.com/office/drawing/2014/main" id="{E9D592B1-72B0-74F6-B759-4666AED3BF93}"/>
              </a:ext>
            </a:extLst>
          </p:cNvPr>
          <p:cNvSpPr/>
          <p:nvPr/>
        </p:nvSpPr>
        <p:spPr>
          <a:xfrm>
            <a:off x="8126558" y="2646385"/>
            <a:ext cx="1150557" cy="2167420"/>
          </a:xfrm>
          <a:prstGeom prst="roundRect">
            <a:avLst/>
          </a:prstGeom>
          <a:solidFill>
            <a:srgbClr val="003479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lta-</a:t>
            </a:r>
            <a:r>
              <a:rPr kumimoji="0" lang="en-US" sz="1333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l</a:t>
            </a: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fusion</a:t>
            </a:r>
            <a:b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y 1</a:t>
            </a:r>
            <a:endParaRPr kumimoji="0" lang="en-US" sz="1333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Target, </a:t>
            </a:r>
          </a:p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.75 × 10</a:t>
            </a:r>
            <a:r>
              <a:rPr kumimoji="0" lang="de-DE" sz="10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CAR+ T cells/kg)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Rectangle: Rounded Corners 67">
            <a:extLst>
              <a:ext uri="{FF2B5EF4-FFF2-40B4-BE49-F238E27FC236}">
                <a16:creationId xmlns:a16="http://schemas.microsoft.com/office/drawing/2014/main" id="{6CE81290-38EB-006D-324F-B3BCAF247117}"/>
              </a:ext>
            </a:extLst>
          </p:cNvPr>
          <p:cNvSpPr/>
          <p:nvPr/>
        </p:nvSpPr>
        <p:spPr>
          <a:xfrm>
            <a:off x="6786320" y="2638597"/>
            <a:ext cx="1061018" cy="2176742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0858A6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ympho-depletion    </a:t>
            </a:r>
            <a:br>
              <a: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100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ys -7 to -5</a:t>
            </a:r>
          </a:p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y/Flu</a:t>
            </a:r>
            <a:endParaRPr kumimoji="0" lang="en-US" sz="1000" b="0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Rectangle: Rounded Corners 68">
            <a:extLst>
              <a:ext uri="{FF2B5EF4-FFF2-40B4-BE49-F238E27FC236}">
                <a16:creationId xmlns:a16="http://schemas.microsoft.com/office/drawing/2014/main" id="{5B5F5F8C-8F60-9E33-DC74-C7A83462583A}"/>
              </a:ext>
            </a:extLst>
          </p:cNvPr>
          <p:cNvSpPr/>
          <p:nvPr/>
        </p:nvSpPr>
        <p:spPr>
          <a:xfrm>
            <a:off x="5454797" y="2644820"/>
            <a:ext cx="1061018" cy="217674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ridging therapy</a:t>
            </a:r>
          </a:p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150" kern="0" dirty="0" err="1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Vd</a:t>
            </a:r>
            <a:r>
              <a:rPr lang="en-GB" sz="1150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en-GB" sz="1150" kern="0" dirty="0" err="1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Pd</a:t>
            </a:r>
            <a:r>
              <a:rPr lang="en-GB" sz="1150" kern="0" baseline="30000" dirty="0" err="1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br>
              <a:rPr lang="en-GB" sz="1150" kern="0" baseline="3000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≥1 cycle </a:t>
            </a:r>
            <a:br>
              <a: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kumimoji="0" lang="en-GB" sz="1100" b="0" i="1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Rectangle: Rounded Corners 72">
            <a:extLst>
              <a:ext uri="{FF2B5EF4-FFF2-40B4-BE49-F238E27FC236}">
                <a16:creationId xmlns:a16="http://schemas.microsoft.com/office/drawing/2014/main" id="{D082BDE2-5C2C-5587-F9C4-7ED0F6297F4D}"/>
              </a:ext>
            </a:extLst>
          </p:cNvPr>
          <p:cNvSpPr/>
          <p:nvPr/>
        </p:nvSpPr>
        <p:spPr>
          <a:xfrm>
            <a:off x="169244" y="1583866"/>
            <a:ext cx="1770451" cy="323769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ree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GB" sz="95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inclusion criteria</a:t>
            </a:r>
            <a:r>
              <a:rPr kumimoji="0" lang="en-GB" sz="950" b="1" i="0" u="none" strike="noStrike" kern="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2</a:t>
            </a:r>
            <a:endParaRPr kumimoji="0" lang="en-GB" sz="95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ge ≥18 years with diagnosed MM</a:t>
            </a: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–3 prior LOT (must include PI + </a:t>
            </a:r>
            <a:r>
              <a:rPr lang="en-US" sz="95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munomodulator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lang="en-US" sz="95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kumimoji="0" lang="en-US" sz="95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alidomide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efractory</a:t>
            </a: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lang="en-US" sz="95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COG PS </a:t>
            </a: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≤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GB" sz="95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 exclusion criteria</a:t>
            </a:r>
            <a:r>
              <a:rPr kumimoji="0" lang="en-GB" sz="950" b="1" i="0" u="none" strike="noStrike" kern="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,2</a:t>
            </a:r>
            <a:endParaRPr kumimoji="0" lang="en-GB" sz="95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11125" marR="0" lvl="0" indent="-1111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5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ior CAR-T or BCMA-targeting therapy</a:t>
            </a:r>
          </a:p>
        </p:txBody>
      </p:sp>
      <p:sp>
        <p:nvSpPr>
          <p:cNvPr id="37" name="Rectangle: Rounded Corners 75">
            <a:extLst>
              <a:ext uri="{FF2B5EF4-FFF2-40B4-BE49-F238E27FC236}">
                <a16:creationId xmlns:a16="http://schemas.microsoft.com/office/drawing/2014/main" id="{0134450F-3F56-C97F-8DD3-C65EAF7E2B37}"/>
              </a:ext>
            </a:extLst>
          </p:cNvPr>
          <p:cNvSpPr/>
          <p:nvPr/>
        </p:nvSpPr>
        <p:spPr>
          <a:xfrm>
            <a:off x="2297404" y="1574238"/>
            <a:ext cx="1585627" cy="324732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vert="horz" lIns="0" tIns="0" rIns="0" bIns="0" rtlCol="0" anchor="ctr"/>
          <a:lstStyle/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:1 Randomization (N=419)</a:t>
            </a:r>
          </a:p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1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tients strati</a:t>
            </a:r>
            <a:r>
              <a:rPr lang="en-GB" sz="1050" i="1" kern="0" dirty="0" err="1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ed</a:t>
            </a:r>
            <a:r>
              <a:rPr lang="en-GB" sz="1050" i="1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y choice of </a:t>
            </a:r>
            <a:r>
              <a:rPr lang="en-GB" sz="1050" i="1" kern="0" dirty="0" err="1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Vd</a:t>
            </a:r>
            <a:r>
              <a:rPr lang="en-GB" sz="1050" i="1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GB" sz="1050" i="1" kern="0" dirty="0" err="1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Pd</a:t>
            </a:r>
            <a:r>
              <a:rPr lang="en-GB" sz="1050" i="1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SS stage, and number of prior LOT</a:t>
            </a:r>
            <a:endParaRPr kumimoji="0" lang="en-GB" sz="1400" i="1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Right Arrow 23">
            <a:extLst>
              <a:ext uri="{FF2B5EF4-FFF2-40B4-BE49-F238E27FC236}">
                <a16:creationId xmlns:a16="http://schemas.microsoft.com/office/drawing/2014/main" id="{F2449B10-705F-0073-60EF-7D0F87E41C23}"/>
              </a:ext>
            </a:extLst>
          </p:cNvPr>
          <p:cNvSpPr/>
          <p:nvPr/>
        </p:nvSpPr>
        <p:spPr>
          <a:xfrm>
            <a:off x="3889259" y="1762121"/>
            <a:ext cx="258211" cy="350380"/>
          </a:xfrm>
          <a:prstGeom prst="rightArrow">
            <a:avLst/>
          </a:prstGeom>
          <a:solidFill>
            <a:srgbClr val="16637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Rectangle: Rounded Corners 28">
            <a:extLst>
              <a:ext uri="{FF2B5EF4-FFF2-40B4-BE49-F238E27FC236}">
                <a16:creationId xmlns:a16="http://schemas.microsoft.com/office/drawing/2014/main" id="{D3278273-5E37-354E-21E4-92285DCD5459}"/>
              </a:ext>
            </a:extLst>
          </p:cNvPr>
          <p:cNvSpPr/>
          <p:nvPr/>
        </p:nvSpPr>
        <p:spPr>
          <a:xfrm rot="5400000">
            <a:off x="6991905" y="-1265928"/>
            <a:ext cx="764740" cy="646713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vert270" lIns="0" tIns="0" rIns="0" bIns="0" rtlCol="0" anchor="ctr"/>
          <a:lstStyle/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C</a:t>
            </a:r>
            <a:br>
              <a:rPr lang="en-GB" sz="1333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333" kern="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Vd</a:t>
            </a:r>
            <a:r>
              <a:rPr lang="en-GB" sz="1333" kern="0" baseline="30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GB" sz="1333" kern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en-GB" sz="1333" kern="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Pd</a:t>
            </a:r>
            <a:r>
              <a:rPr lang="en-GB" sz="1333" kern="0" baseline="30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en-GB" sz="1333" kern="0" baseline="30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e</a:t>
            </a:r>
            <a:endParaRPr kumimoji="0" lang="en-GB" sz="1333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Rectangle: Rounded Corners 29">
            <a:extLst>
              <a:ext uri="{FF2B5EF4-FFF2-40B4-BE49-F238E27FC236}">
                <a16:creationId xmlns:a16="http://schemas.microsoft.com/office/drawing/2014/main" id="{5FAFD082-5B1B-4DB8-AD5F-32350F370DF1}"/>
              </a:ext>
            </a:extLst>
          </p:cNvPr>
          <p:cNvSpPr/>
          <p:nvPr/>
        </p:nvSpPr>
        <p:spPr>
          <a:xfrm>
            <a:off x="10881443" y="1593483"/>
            <a:ext cx="1141312" cy="323769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330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kumimoji="0" lang="en-GB" sz="1330" i="0" u="none" strike="noStrike" kern="0" cap="none" spc="0" normalizeH="0" baseline="0" noProof="0" dirty="0" err="1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llow</a:t>
            </a:r>
            <a:r>
              <a:rPr kumimoji="0" lang="en-GB" sz="1330" i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up</a:t>
            </a:r>
            <a:endParaRPr kumimoji="0" lang="en-GB" sz="1400" i="0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101581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50" kern="0" dirty="0">
                <a:solidFill>
                  <a:srgbClr val="00347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survival, subsequent therapies, and safety</a:t>
            </a:r>
            <a:endParaRPr kumimoji="0" lang="en-GB" sz="1050" i="0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Rectangle: Rounded Corners 30">
            <a:extLst>
              <a:ext uri="{FF2B5EF4-FFF2-40B4-BE49-F238E27FC236}">
                <a16:creationId xmlns:a16="http://schemas.microsoft.com/office/drawing/2014/main" id="{AC507218-7A0B-FFFE-7962-24B9D7315C62}"/>
              </a:ext>
            </a:extLst>
          </p:cNvPr>
          <p:cNvSpPr/>
          <p:nvPr/>
        </p:nvSpPr>
        <p:spPr>
          <a:xfrm>
            <a:off x="9546822" y="2638597"/>
            <a:ext cx="1061018" cy="2176742"/>
          </a:xfrm>
          <a:prstGeom prst="roundRect">
            <a:avLst/>
          </a:prstGeom>
          <a:solidFill>
            <a:srgbClr val="FFFFFF"/>
          </a:solidFill>
          <a:ln w="9525" cap="flat" cmpd="sng" algn="ctr">
            <a:solidFill>
              <a:srgbClr val="0858A6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0" b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llow-up</a:t>
            </a:r>
            <a:br>
              <a:rPr kumimoji="0" lang="en-US" sz="1330" b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200" b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ys 1–112</a:t>
            </a:r>
            <a:endParaRPr kumimoji="0" lang="en-US" sz="1330" b="0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1015788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u="none" strike="noStrike" kern="0" cap="none" spc="0" normalizeH="0" baseline="0" noProof="0" dirty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llect safety, efficacy, and PK/PD data every 28 days</a:t>
            </a:r>
            <a:endParaRPr kumimoji="0" lang="en-US" sz="800" b="0" u="none" strike="noStrike" kern="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EEDDFBE-51ED-BA72-903F-14C0C2045509}"/>
              </a:ext>
            </a:extLst>
          </p:cNvPr>
          <p:cNvSpPr txBox="1"/>
          <p:nvPr/>
        </p:nvSpPr>
        <p:spPr>
          <a:xfrm>
            <a:off x="471856" y="1181197"/>
            <a:ext cx="15424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design</a:t>
            </a:r>
          </a:p>
        </p:txBody>
      </p:sp>
      <p:sp>
        <p:nvSpPr>
          <p:cNvPr id="43" name="Left Bracket 8">
            <a:extLst>
              <a:ext uri="{FF2B5EF4-FFF2-40B4-BE49-F238E27FC236}">
                <a16:creationId xmlns:a16="http://schemas.microsoft.com/office/drawing/2014/main" id="{C5FC0225-D0A2-C2BC-1483-999C0DB0E190}"/>
              </a:ext>
            </a:extLst>
          </p:cNvPr>
          <p:cNvSpPr/>
          <p:nvPr/>
        </p:nvSpPr>
        <p:spPr>
          <a:xfrm rot="16200000" flipH="1" flipV="1">
            <a:off x="7324199" y="-697494"/>
            <a:ext cx="116168" cy="6451118"/>
          </a:xfrm>
          <a:prstGeom prst="leftBracket">
            <a:avLst/>
          </a:prstGeom>
          <a:ln w="28575" cap="sq"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3209685-9017-0662-CD35-D7F40CCDD3A6}"/>
              </a:ext>
            </a:extLst>
          </p:cNvPr>
          <p:cNvSpPr txBox="1"/>
          <p:nvPr/>
        </p:nvSpPr>
        <p:spPr>
          <a:xfrm>
            <a:off x="4259437" y="2372998"/>
            <a:ext cx="1010277" cy="215444"/>
          </a:xfrm>
          <a:prstGeom prst="rect">
            <a:avLst/>
          </a:prstGeom>
          <a:solidFill>
            <a:schemeClr val="bg1"/>
          </a:solidFill>
        </p:spPr>
        <p:txBody>
          <a:bodyPr wrap="none" lIns="45720" tIns="0" rIns="45720" bIns="0" rtlCol="0">
            <a:spAutoFit/>
          </a:bodyPr>
          <a:lstStyle/>
          <a:p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lta-</a:t>
            </a:r>
            <a:r>
              <a:rPr lang="en-US" sz="1400" dirty="0" err="1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l</a:t>
            </a:r>
            <a:r>
              <a:rPr lang="en-US" sz="14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rm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6A103D1-5492-8A21-FDCE-55EABB5AD298}"/>
              </a:ext>
            </a:extLst>
          </p:cNvPr>
          <p:cNvSpPr txBox="1"/>
          <p:nvPr/>
        </p:nvSpPr>
        <p:spPr>
          <a:xfrm>
            <a:off x="5928852" y="6611779"/>
            <a:ext cx="628008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n Miguel, J et al. N Engl J Med. 2023;389:335-347; </a:t>
            </a: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eos MV, et al. IMS 2024 (Abstract No. OA65 – presentation</a:t>
            </a:r>
            <a:endParaRPr lang="el-GR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31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30D9F-EECB-2756-1433-747CF7B1A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3903"/>
            <a:ext cx="10515600" cy="1325563"/>
          </a:xfrm>
        </p:spPr>
        <p:txBody>
          <a:bodyPr/>
          <a:lstStyle/>
          <a:p>
            <a:r>
              <a:rPr lang="en-US" alt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KER-MM1 Update: </a:t>
            </a:r>
            <a:r>
              <a:rPr lang="en-US" altLang="en-US" sz="28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voseltamab</a:t>
            </a:r>
            <a:r>
              <a:rPr lang="en-US" alt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RRMM - </a:t>
            </a:r>
            <a:r>
              <a:rPr 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y Design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Content Placeholder 4" descr="A screenshot of a medical chart&#10;&#10;AI-generated content may be incorrect.">
            <a:extLst>
              <a:ext uri="{FF2B5EF4-FFF2-40B4-BE49-F238E27FC236}">
                <a16:creationId xmlns:a16="http://schemas.microsoft.com/office/drawing/2014/main" id="{D3C890D7-8EE3-0302-0435-20574153FE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24" y="1444466"/>
            <a:ext cx="11670252" cy="4438263"/>
          </a:xfrm>
        </p:spPr>
      </p:pic>
      <p:sp>
        <p:nvSpPr>
          <p:cNvPr id="6" name="Text Box 11">
            <a:extLst>
              <a:ext uri="{FF2B5EF4-FFF2-40B4-BE49-F238E27FC236}">
                <a16:creationId xmlns:a16="http://schemas.microsoft.com/office/drawing/2014/main" id="{BD46B977-DEA0-69DF-91FE-FADE4F8BC1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06881" y="6507876"/>
            <a:ext cx="27307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0" i="0" dirty="0">
                <a:solidFill>
                  <a:srgbClr val="000000"/>
                </a:solidFill>
                <a:effectLst/>
                <a:latin typeface="+mj-lt"/>
              </a:rPr>
              <a:t>Shah MR, et al. ASH 2024;Abstract 3369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40812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38FC5B-7879-5B2C-AFBA-9B0AE732F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449"/>
            <a:ext cx="10515600" cy="1325563"/>
          </a:xfrm>
        </p:spPr>
        <p:txBody>
          <a:bodyPr/>
          <a:lstStyle/>
          <a:p>
            <a:r>
              <a:rPr lang="en-US" alt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KER-MM1 Update: </a:t>
            </a:r>
            <a:r>
              <a:rPr 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line Characteristics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Picture 15" descr="A screenshot of a report&#10;&#10;AI-generated content may be incorrect.">
            <a:extLst>
              <a:ext uri="{FF2B5EF4-FFF2-40B4-BE49-F238E27FC236}">
                <a16:creationId xmlns:a16="http://schemas.microsoft.com/office/drawing/2014/main" id="{A6F8DA4C-45D8-A13F-13DB-7D7819694D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29" y="1547294"/>
            <a:ext cx="5595061" cy="4538766"/>
          </a:xfrm>
          <a:prstGeom prst="rect">
            <a:avLst/>
          </a:prstGeom>
        </p:spPr>
      </p:pic>
      <p:pic>
        <p:nvPicPr>
          <p:cNvPr id="18" name="Picture 17" descr="A table of information with numbers and text&#10;&#10;AI-generated content may be incorrect.">
            <a:extLst>
              <a:ext uri="{FF2B5EF4-FFF2-40B4-BE49-F238E27FC236}">
                <a16:creationId xmlns:a16="http://schemas.microsoft.com/office/drawing/2014/main" id="{23F93613-0B49-2A77-7308-07DA869616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06" y="1257812"/>
            <a:ext cx="5338866" cy="5117730"/>
          </a:xfrm>
          <a:prstGeom prst="rect">
            <a:avLst/>
          </a:prstGeom>
        </p:spPr>
      </p:pic>
      <p:sp>
        <p:nvSpPr>
          <p:cNvPr id="19" name="Text Box 11">
            <a:extLst>
              <a:ext uri="{FF2B5EF4-FFF2-40B4-BE49-F238E27FC236}">
                <a16:creationId xmlns:a16="http://schemas.microsoft.com/office/drawing/2014/main" id="{21FC1F3B-7274-17CB-E158-AD75738221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06881" y="6507876"/>
            <a:ext cx="27307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0" i="0" dirty="0">
                <a:solidFill>
                  <a:srgbClr val="000000"/>
                </a:solidFill>
                <a:effectLst/>
                <a:latin typeface="+mj-lt"/>
              </a:rPr>
              <a:t>Shah MR, et al. ASH 2024;Abstract 3369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016434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7677BF9-E324-8B51-41DD-E660AEAB3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3A9E0-5776-47C5-A908-001B6C650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017" y="76326"/>
            <a:ext cx="10872445" cy="1103313"/>
          </a:xfrm>
        </p:spPr>
        <p:txBody>
          <a:bodyPr/>
          <a:lstStyle/>
          <a:p>
            <a:r>
              <a:rPr lang="en-US" altLang="en-US" sz="3600" dirty="0">
                <a:solidFill>
                  <a:srgbClr val="C00000"/>
                </a:solidFill>
              </a:rPr>
              <a:t>LINKER-MM1 Update: </a:t>
            </a:r>
            <a:r>
              <a:rPr lang="en-US" dirty="0">
                <a:solidFill>
                  <a:srgbClr val="C00000"/>
                </a:solidFill>
              </a:rPr>
              <a:t>Efficacy</a:t>
            </a:r>
          </a:p>
        </p:txBody>
      </p:sp>
      <p:sp>
        <p:nvSpPr>
          <p:cNvPr id="15" name="Text Box 11">
            <a:extLst>
              <a:ext uri="{FF2B5EF4-FFF2-40B4-BE49-F238E27FC236}">
                <a16:creationId xmlns:a16="http://schemas.microsoft.com/office/drawing/2014/main" id="{758E5A1A-467B-A784-288D-BA572ADDF0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01818" y="6592603"/>
            <a:ext cx="841017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0" i="0" dirty="0">
                <a:solidFill>
                  <a:srgbClr val="000000"/>
                </a:solidFill>
                <a:effectLst/>
                <a:latin typeface="+mj-lt"/>
              </a:rPr>
              <a:t>Shah MR, et al. ASH 2024;Abstract 3369; Bumma J Clin Oncol 2024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3F429F0F-7386-FC0B-8EC8-17FA1E0262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68682" y="76554"/>
            <a:ext cx="5422006" cy="6620172"/>
            <a:chOff x="4153" y="-56"/>
            <a:chExt cx="3584" cy="4376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63CD9A61-3933-B72C-E056-3B54387C4A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59" y="0"/>
              <a:ext cx="347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1029" name="Picture 5">
              <a:extLst>
                <a:ext uri="{FF2B5EF4-FFF2-40B4-BE49-F238E27FC236}">
                  <a16:creationId xmlns:a16="http://schemas.microsoft.com/office/drawing/2014/main" id="{D7C1F843-52F4-2CA7-CDF0-8350F75624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" y="-56"/>
              <a:ext cx="3482" cy="4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" name="Group 8">
            <a:extLst>
              <a:ext uri="{FF2B5EF4-FFF2-40B4-BE49-F238E27FC236}">
                <a16:creationId xmlns:a16="http://schemas.microsoft.com/office/drawing/2014/main" id="{B6AB9D0F-E555-E8A5-7C24-D60AC13B87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360" y="1430655"/>
            <a:ext cx="5864225" cy="4737100"/>
            <a:chOff x="424" y="822"/>
            <a:chExt cx="3694" cy="2984"/>
          </a:xfrm>
        </p:grpSpPr>
        <p:sp>
          <p:nvSpPr>
            <p:cNvPr id="19" name="AutoShape 7">
              <a:extLst>
                <a:ext uri="{FF2B5EF4-FFF2-40B4-BE49-F238E27FC236}">
                  <a16:creationId xmlns:a16="http://schemas.microsoft.com/office/drawing/2014/main" id="{A73993A5-8EF6-7BD3-F16C-47A2C0A130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4" y="822"/>
              <a:ext cx="3686" cy="2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l-GR"/>
            </a:p>
          </p:txBody>
        </p:sp>
        <p:pic>
          <p:nvPicPr>
            <p:cNvPr id="1033" name="Picture 9">
              <a:extLst>
                <a:ext uri="{FF2B5EF4-FFF2-40B4-BE49-F238E27FC236}">
                  <a16:creationId xmlns:a16="http://schemas.microsoft.com/office/drawing/2014/main" id="{1F5C6024-3FC0-0092-B263-5688656B4EF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1" t="2614"/>
            <a:stretch/>
          </p:blipFill>
          <p:spPr bwMode="auto">
            <a:xfrm>
              <a:off x="482" y="900"/>
              <a:ext cx="3636" cy="2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601341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DA7A8-4EC0-DB35-E319-352C04778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1325563"/>
          </a:xfrm>
        </p:spPr>
        <p:txBody>
          <a:bodyPr/>
          <a:lstStyle/>
          <a:p>
            <a:r>
              <a:rPr lang="en-US" altLang="en-US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KER-MM1 Update: </a:t>
            </a:r>
            <a:r>
              <a:rPr lang="en-US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fety</a:t>
            </a:r>
          </a:p>
        </p:txBody>
      </p:sp>
      <p:pic>
        <p:nvPicPr>
          <p:cNvPr id="5" name="Content Placeholder 4" descr="A table with numbers and text&#10;&#10;AI-generated content may be incorrect.">
            <a:extLst>
              <a:ext uri="{FF2B5EF4-FFF2-40B4-BE49-F238E27FC236}">
                <a16:creationId xmlns:a16="http://schemas.microsoft.com/office/drawing/2014/main" id="{F910704E-08A0-3001-6951-008FF6CD58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236" y="1062682"/>
            <a:ext cx="5473527" cy="5530842"/>
          </a:xfrm>
        </p:spPr>
      </p:pic>
      <p:sp>
        <p:nvSpPr>
          <p:cNvPr id="6" name="Text Box 11">
            <a:extLst>
              <a:ext uri="{FF2B5EF4-FFF2-40B4-BE49-F238E27FC236}">
                <a16:creationId xmlns:a16="http://schemas.microsoft.com/office/drawing/2014/main" id="{CF3967D8-08F2-24B6-BB98-7D90B04D9F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1854" y="6593524"/>
            <a:ext cx="27307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0" i="0" dirty="0">
                <a:solidFill>
                  <a:srgbClr val="000000"/>
                </a:solidFill>
                <a:effectLst/>
                <a:latin typeface="+mj-lt"/>
              </a:rPr>
              <a:t>Shah MR, et al. ASH 2024;Abstract 3369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31694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038D6-C474-65EB-7626-7520D0E80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466" y="299778"/>
            <a:ext cx="11019691" cy="443198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DREAMM-8 Study: </a:t>
            </a:r>
            <a:r>
              <a:rPr lang="en-US" sz="3200" dirty="0" err="1">
                <a:solidFill>
                  <a:srgbClr val="C00000"/>
                </a:solidFill>
              </a:rPr>
              <a:t>BelaPd</a:t>
            </a:r>
            <a:r>
              <a:rPr lang="en-US" sz="3200" dirty="0">
                <a:solidFill>
                  <a:srgbClr val="C00000"/>
                </a:solidFill>
              </a:rPr>
              <a:t> vs </a:t>
            </a:r>
            <a:r>
              <a:rPr lang="en-US" sz="3200" dirty="0" err="1">
                <a:solidFill>
                  <a:srgbClr val="C00000"/>
                </a:solidFill>
              </a:rPr>
              <a:t>PVd</a:t>
            </a:r>
            <a:r>
              <a:rPr lang="en-US" sz="3200" dirty="0">
                <a:solidFill>
                  <a:srgbClr val="C00000"/>
                </a:solidFill>
              </a:rPr>
              <a:t> – Study Design</a:t>
            </a:r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2E4D0F8E-E85D-F4C2-2A84-89D3117282B0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Straight Arrow Connector 55">
            <a:extLst>
              <a:ext uri="{FF2B5EF4-FFF2-40B4-BE49-F238E27FC236}">
                <a16:creationId xmlns:a16="http://schemas.microsoft.com/office/drawing/2014/main" id="{537A11E4-A301-EA2A-75D8-EC2023B08FA1}"/>
              </a:ext>
            </a:extLst>
          </p:cNvPr>
          <p:cNvCxnSpPr>
            <a:cxnSpLocks/>
          </p:cNvCxnSpPr>
          <p:nvPr/>
        </p:nvCxnSpPr>
        <p:spPr>
          <a:xfrm>
            <a:off x="8095971" y="4595406"/>
            <a:ext cx="2597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72">
            <a:extLst>
              <a:ext uri="{FF2B5EF4-FFF2-40B4-BE49-F238E27FC236}">
                <a16:creationId xmlns:a16="http://schemas.microsoft.com/office/drawing/2014/main" id="{B70E2F72-5BD4-171A-567C-B1103D435520}"/>
              </a:ext>
            </a:extLst>
          </p:cNvPr>
          <p:cNvCxnSpPr>
            <a:cxnSpLocks/>
          </p:cNvCxnSpPr>
          <p:nvPr/>
        </p:nvCxnSpPr>
        <p:spPr>
          <a:xfrm>
            <a:off x="8091744" y="3073799"/>
            <a:ext cx="2597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43">
            <a:extLst>
              <a:ext uri="{FF2B5EF4-FFF2-40B4-BE49-F238E27FC236}">
                <a16:creationId xmlns:a16="http://schemas.microsoft.com/office/drawing/2014/main" id="{862A1875-7442-0634-DCF8-E52353827374}"/>
              </a:ext>
            </a:extLst>
          </p:cNvPr>
          <p:cNvSpPr/>
          <p:nvPr/>
        </p:nvSpPr>
        <p:spPr>
          <a:xfrm>
            <a:off x="8705571" y="2347432"/>
            <a:ext cx="2868902" cy="3158837"/>
          </a:xfrm>
          <a:prstGeom prst="round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ctangle 46">
            <a:extLst>
              <a:ext uri="{FF2B5EF4-FFF2-40B4-BE49-F238E27FC236}">
                <a16:creationId xmlns:a16="http://schemas.microsoft.com/office/drawing/2014/main" id="{1BE80858-6DB5-0F6A-2485-01BC720D3FBA}"/>
              </a:ext>
            </a:extLst>
          </p:cNvPr>
          <p:cNvSpPr/>
          <p:nvPr/>
        </p:nvSpPr>
        <p:spPr>
          <a:xfrm>
            <a:off x="3730635" y="2363472"/>
            <a:ext cx="307762" cy="143754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45720" r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P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Q4W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6" name="Rectangle 47">
            <a:extLst>
              <a:ext uri="{FF2B5EF4-FFF2-40B4-BE49-F238E27FC236}">
                <a16:creationId xmlns:a16="http://schemas.microsoft.com/office/drawing/2014/main" id="{E531051C-A739-2DC7-D7CA-85A2E64557D2}"/>
              </a:ext>
            </a:extLst>
          </p:cNvPr>
          <p:cNvSpPr/>
          <p:nvPr/>
        </p:nvSpPr>
        <p:spPr>
          <a:xfrm>
            <a:off x="3730635" y="3885450"/>
            <a:ext cx="307762" cy="1593577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V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Q3W)</a:t>
            </a:r>
          </a:p>
        </p:txBody>
      </p:sp>
      <p:sp>
        <p:nvSpPr>
          <p:cNvPr id="57" name="Rectangle 48">
            <a:extLst>
              <a:ext uri="{FF2B5EF4-FFF2-40B4-BE49-F238E27FC236}">
                <a16:creationId xmlns:a16="http://schemas.microsoft.com/office/drawing/2014/main" id="{544F725D-C3DD-8F42-6EF5-5FF3E69BD030}"/>
              </a:ext>
            </a:extLst>
          </p:cNvPr>
          <p:cNvSpPr/>
          <p:nvPr/>
        </p:nvSpPr>
        <p:spPr>
          <a:xfrm>
            <a:off x="4100256" y="2363472"/>
            <a:ext cx="3995715" cy="1439911"/>
          </a:xfrm>
          <a:prstGeom prst="rect">
            <a:avLst/>
          </a:prstGeom>
          <a:solidFill>
            <a:schemeClr val="accent1">
              <a:lumMod val="40000"/>
              <a:lumOff val="60000"/>
              <a:alpha val="2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ntamab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odotin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 mg/kg IV (cycle 1) then 1.9 mg/kg IV Q4W from cycle 2 onwar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idomid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mg orally on days 1-21 (28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xamethason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0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g</a:t>
            </a:r>
            <a:r>
              <a:rPr kumimoji="0" lang="en-US" sz="1100" b="0" i="0" u="none" strike="noStrike" kern="1200" cap="none" spc="0" normalizeH="0" baseline="3000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days 1, 8, 15, and 22</a:t>
            </a:r>
          </a:p>
        </p:txBody>
      </p:sp>
      <p:sp>
        <p:nvSpPr>
          <p:cNvPr id="58" name="Rectangle 49">
            <a:extLst>
              <a:ext uri="{FF2B5EF4-FFF2-40B4-BE49-F238E27FC236}">
                <a16:creationId xmlns:a16="http://schemas.microsoft.com/office/drawing/2014/main" id="{5C8A73E5-6D28-B238-E51A-1707B09E6DB7}"/>
              </a:ext>
            </a:extLst>
          </p:cNvPr>
          <p:cNvSpPr/>
          <p:nvPr/>
        </p:nvSpPr>
        <p:spPr>
          <a:xfrm>
            <a:off x="4100256" y="3899144"/>
            <a:ext cx="3986479" cy="1579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rtezomi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3 mg/m</a:t>
            </a: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 on days 1, 4, 8, and 11 of cycles 1-8 then days 1 and 8 (21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idomide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mg orally on days 1-14 (21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xamethason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g</a:t>
            </a:r>
            <a:r>
              <a:rPr kumimoji="0" lang="en-US" sz="1100" b="0" i="0" u="none" strike="noStrike" kern="1200" cap="none" spc="0" normalizeH="0" baseline="3000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the day of and day after bortezomi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E23364C-ACA8-D9A2-EE14-06443C592FAA}"/>
              </a:ext>
            </a:extLst>
          </p:cNvPr>
          <p:cNvSpPr txBox="1"/>
          <p:nvPr/>
        </p:nvSpPr>
        <p:spPr>
          <a:xfrm>
            <a:off x="4100256" y="1534999"/>
            <a:ext cx="3991488" cy="584775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 perio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il PD, death, unacceptable toxicity, end of study, or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drawal of consen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cxnSp>
        <p:nvCxnSpPr>
          <p:cNvPr id="60" name="Straight Arrow Connector 51">
            <a:extLst>
              <a:ext uri="{FF2B5EF4-FFF2-40B4-BE49-F238E27FC236}">
                <a16:creationId xmlns:a16="http://schemas.microsoft.com/office/drawing/2014/main" id="{AA248DCD-57CE-3C68-99E2-89AA1273A617}"/>
              </a:ext>
            </a:extLst>
          </p:cNvPr>
          <p:cNvCxnSpPr>
            <a:cxnSpLocks/>
          </p:cNvCxnSpPr>
          <p:nvPr/>
        </p:nvCxnSpPr>
        <p:spPr>
          <a:xfrm>
            <a:off x="2668378" y="3946170"/>
            <a:ext cx="409553" cy="51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52">
            <a:extLst>
              <a:ext uri="{FF2B5EF4-FFF2-40B4-BE49-F238E27FC236}">
                <a16:creationId xmlns:a16="http://schemas.microsoft.com/office/drawing/2014/main" id="{BB92BE50-27A2-13B6-161C-BB2F779E4C5C}"/>
              </a:ext>
            </a:extLst>
          </p:cNvPr>
          <p:cNvCxnSpPr>
            <a:cxnSpLocks/>
          </p:cNvCxnSpPr>
          <p:nvPr/>
        </p:nvCxnSpPr>
        <p:spPr>
          <a:xfrm>
            <a:off x="3433520" y="3041002"/>
            <a:ext cx="29711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53">
            <a:extLst>
              <a:ext uri="{FF2B5EF4-FFF2-40B4-BE49-F238E27FC236}">
                <a16:creationId xmlns:a16="http://schemas.microsoft.com/office/drawing/2014/main" id="{6BF55A54-1109-8656-DCF2-C6CEED383E9B}"/>
              </a:ext>
            </a:extLst>
          </p:cNvPr>
          <p:cNvCxnSpPr>
            <a:cxnSpLocks/>
          </p:cNvCxnSpPr>
          <p:nvPr/>
        </p:nvCxnSpPr>
        <p:spPr>
          <a:xfrm>
            <a:off x="3433519" y="4597038"/>
            <a:ext cx="29711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83E93B9-3083-2966-4F07-53A0ACE5FB38}"/>
              </a:ext>
            </a:extLst>
          </p:cNvPr>
          <p:cNvSpPr txBox="1"/>
          <p:nvPr/>
        </p:nvSpPr>
        <p:spPr>
          <a:xfrm>
            <a:off x="8781756" y="2561595"/>
            <a:ext cx="2717131" cy="276998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endpoint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(IRC assessed per IMWG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econdary endpoints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, MRD negativity, DOR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ditional secondary endpoints include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R, CRR, ≥VGPR,TTBR, TTR, TTP, PFS2, AEs, ocular findings, HRQOL, and PROs</a:t>
            </a:r>
          </a:p>
        </p:txBody>
      </p:sp>
      <p:sp>
        <p:nvSpPr>
          <p:cNvPr id="64" name="Rectangle: Rounded Corners 67">
            <a:extLst>
              <a:ext uri="{FF2B5EF4-FFF2-40B4-BE49-F238E27FC236}">
                <a16:creationId xmlns:a16="http://schemas.microsoft.com/office/drawing/2014/main" id="{6843BBA4-C8DD-8F56-2C97-7672AFF7E7D4}"/>
              </a:ext>
            </a:extLst>
          </p:cNvPr>
          <p:cNvSpPr/>
          <p:nvPr/>
        </p:nvSpPr>
        <p:spPr>
          <a:xfrm>
            <a:off x="673110" y="2457994"/>
            <a:ext cx="2065770" cy="2903344"/>
          </a:xfrm>
          <a:prstGeom prst="roundRect">
            <a:avLst>
              <a:gd name="adj" fmla="val 12456"/>
            </a:avLst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ligibility criteria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20CF8A3-7FA7-EBAB-1200-9398DC24FE9D}"/>
              </a:ext>
            </a:extLst>
          </p:cNvPr>
          <p:cNvSpPr txBox="1"/>
          <p:nvPr/>
        </p:nvSpPr>
        <p:spPr>
          <a:xfrm>
            <a:off x="715073" y="2806792"/>
            <a:ext cx="1996098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dults with MM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≥1 prior line of MM therapy including LEN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cumented PD during or after their most recent therapy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o prior treatment with anti-BCMA or pomalidomide; not refractory/intolerant to bortezomib</a:t>
            </a:r>
          </a:p>
        </p:txBody>
      </p:sp>
      <p:sp>
        <p:nvSpPr>
          <p:cNvPr id="66" name="Rectangle 69">
            <a:extLst>
              <a:ext uri="{FF2B5EF4-FFF2-40B4-BE49-F238E27FC236}">
                <a16:creationId xmlns:a16="http://schemas.microsoft.com/office/drawing/2014/main" id="{933F3B83-CF56-673B-0B60-AA28FA80784D}"/>
              </a:ext>
            </a:extLst>
          </p:cNvPr>
          <p:cNvSpPr/>
          <p:nvPr/>
        </p:nvSpPr>
        <p:spPr>
          <a:xfrm>
            <a:off x="8380908" y="2732770"/>
            <a:ext cx="273252" cy="22293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End-of-treatment visit</a:t>
            </a:r>
          </a:p>
        </p:txBody>
      </p:sp>
      <p:sp>
        <p:nvSpPr>
          <p:cNvPr id="67" name="Rectangle 74">
            <a:extLst>
              <a:ext uri="{FF2B5EF4-FFF2-40B4-BE49-F238E27FC236}">
                <a16:creationId xmlns:a16="http://schemas.microsoft.com/office/drawing/2014/main" id="{9C33BBDF-84A0-4179-3482-64FDB7F61FF9}"/>
              </a:ext>
            </a:extLst>
          </p:cNvPr>
          <p:cNvSpPr/>
          <p:nvPr/>
        </p:nvSpPr>
        <p:spPr>
          <a:xfrm>
            <a:off x="672412" y="5557032"/>
            <a:ext cx="2934958" cy="73975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0000" rIns="900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8B7D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ratification</a:t>
            </a:r>
            <a:r>
              <a:rPr kumimoji="0" lang="en-US" sz="1050" b="0" i="0" u="none" strike="noStrike" kern="0" cap="none" spc="0" normalizeH="0" baseline="3000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b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: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lines of treatment (1 vs 2 or 3 vs ≥4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bortezomib (yes vs no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Prior anti-CD38 therapy (yes vs no)</a:t>
            </a:r>
          </a:p>
        </p:txBody>
      </p:sp>
      <p:grpSp>
        <p:nvGrpSpPr>
          <p:cNvPr id="68" name="Group 75">
            <a:extLst>
              <a:ext uri="{FF2B5EF4-FFF2-40B4-BE49-F238E27FC236}">
                <a16:creationId xmlns:a16="http://schemas.microsoft.com/office/drawing/2014/main" id="{B60343D7-4881-0EE0-BC08-82B9776EF600}"/>
              </a:ext>
            </a:extLst>
          </p:cNvPr>
          <p:cNvGrpSpPr/>
          <p:nvPr/>
        </p:nvGrpSpPr>
        <p:grpSpPr>
          <a:xfrm>
            <a:off x="672412" y="1534999"/>
            <a:ext cx="2934958" cy="583200"/>
            <a:chOff x="808329" y="863482"/>
            <a:chExt cx="2246832" cy="608385"/>
          </a:xfrm>
          <a:solidFill>
            <a:schemeClr val="tx2"/>
          </a:solidFill>
        </p:grpSpPr>
        <p:sp>
          <p:nvSpPr>
            <p:cNvPr id="69" name="Rectangle 76">
              <a:extLst>
                <a:ext uri="{FF2B5EF4-FFF2-40B4-BE49-F238E27FC236}">
                  <a16:creationId xmlns:a16="http://schemas.microsoft.com/office/drawing/2014/main" id="{4FC25220-ADAD-8B18-2496-6926CD0F0D78}"/>
                </a:ext>
              </a:extLst>
            </p:cNvPr>
            <p:cNvSpPr/>
            <p:nvPr/>
          </p:nvSpPr>
          <p:spPr>
            <a:xfrm>
              <a:off x="808329" y="863482"/>
              <a:ext cx="2246832" cy="608385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663B8F3-8808-D7C9-8B5E-C4B5D365789B}"/>
                </a:ext>
              </a:extLst>
            </p:cNvPr>
            <p:cNvSpPr txBox="1"/>
            <p:nvPr/>
          </p:nvSpPr>
          <p:spPr>
            <a:xfrm>
              <a:off x="1017297" y="943609"/>
              <a:ext cx="1850173" cy="46554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ruitment period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ctober 2020 to December 2022</a:t>
              </a:r>
            </a:p>
          </p:txBody>
        </p:sp>
      </p:grpSp>
      <p:sp>
        <p:nvSpPr>
          <p:cNvPr id="71" name="Rectangle 45">
            <a:extLst>
              <a:ext uri="{FF2B5EF4-FFF2-40B4-BE49-F238E27FC236}">
                <a16:creationId xmlns:a16="http://schemas.microsoft.com/office/drawing/2014/main" id="{29AD76AC-F0CC-703B-D804-8D47EACC988F}"/>
              </a:ext>
            </a:extLst>
          </p:cNvPr>
          <p:cNvSpPr/>
          <p:nvPr/>
        </p:nvSpPr>
        <p:spPr>
          <a:xfrm>
            <a:off x="3104870" y="2750973"/>
            <a:ext cx="309600" cy="213123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:1 randomizat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0423E7E-302D-8C91-688B-7CADA54A9185}"/>
              </a:ext>
            </a:extLst>
          </p:cNvPr>
          <p:cNvSpPr txBox="1"/>
          <p:nvPr/>
        </p:nvSpPr>
        <p:spPr>
          <a:xfrm>
            <a:off x="2525379" y="2578881"/>
            <a:ext cx="14685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02</a:t>
            </a:r>
          </a:p>
        </p:txBody>
      </p:sp>
    </p:spTree>
    <p:extLst>
      <p:ext uri="{BB962C8B-B14F-4D97-AF65-F5344CB8AC3E}">
        <p14:creationId xmlns:p14="http://schemas.microsoft.com/office/powerpoint/2010/main" val="28528399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04FD428-FA29-4DC0-1DE5-7E70448F1EE7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125938" y="1029277"/>
          <a:ext cx="5545189" cy="5052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5657">
                  <a:extLst>
                    <a:ext uri="{9D8B030D-6E8A-4147-A177-3AD203B41FA5}">
                      <a16:colId xmlns:a16="http://schemas.microsoft.com/office/drawing/2014/main" val="1714412840"/>
                    </a:ext>
                  </a:extLst>
                </a:gridCol>
                <a:gridCol w="1458617">
                  <a:extLst>
                    <a:ext uri="{9D8B030D-6E8A-4147-A177-3AD203B41FA5}">
                      <a16:colId xmlns:a16="http://schemas.microsoft.com/office/drawing/2014/main" val="3025547228"/>
                    </a:ext>
                  </a:extLst>
                </a:gridCol>
                <a:gridCol w="1370915">
                  <a:extLst>
                    <a:ext uri="{9D8B030D-6E8A-4147-A177-3AD203B41FA5}">
                      <a16:colId xmlns:a16="http://schemas.microsoft.com/office/drawing/2014/main" val="1415950296"/>
                    </a:ext>
                  </a:extLst>
                </a:gridCol>
              </a:tblGrid>
              <a:tr h="234890"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j-lt"/>
                        </a:rPr>
                        <a:t>Baseline characteristics</a:t>
                      </a:r>
                      <a:endParaRPr lang="en-US" sz="12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tx1"/>
                          </a:solidFill>
                          <a:latin typeface="+mj-lt"/>
                        </a:rPr>
                        <a:t>ITT population</a:t>
                      </a:r>
                      <a:endParaRPr lang="en-US" sz="1200" b="1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8394126"/>
                  </a:ext>
                </a:extLst>
              </a:tr>
              <a:tr h="234890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BPd (N=155)</a:t>
                      </a:r>
                      <a:endParaRPr lang="en-US" sz="1200" b="1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381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PVd (N=147)</a:t>
                      </a:r>
                      <a:endParaRPr lang="en-US" sz="1200" b="1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332177"/>
                  </a:ext>
                </a:extLst>
              </a:tr>
              <a:tr h="626373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Age, median (range), years </a:t>
                      </a:r>
                    </a:p>
                    <a:p>
                      <a:pPr marL="461963" lvl="1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&lt;65, n (%)</a:t>
                      </a:r>
                    </a:p>
                    <a:p>
                      <a:pPr marL="461963" lvl="1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65 to &lt;75, n (%)</a:t>
                      </a:r>
                    </a:p>
                    <a:p>
                      <a:pPr marL="461963" lvl="1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≥75, n (%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67 (40-82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64 (4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72 (4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19 (12)</a:t>
                      </a:r>
                      <a:endParaRPr lang="en-US" sz="10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68 (34-86)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53 (36)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59 (40)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35 (24)</a:t>
                      </a:r>
                      <a:endParaRPr lang="en-US" sz="1050" kern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782220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Male/female, n (%) </a:t>
                      </a:r>
                      <a:endParaRPr lang="en-US" sz="105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99 (64)/56 (36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82 (56)/65 (44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458773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White/Black/Asian/Mixed race, n (%)</a:t>
                      </a:r>
                      <a:r>
                        <a:rPr lang="en-US" sz="1050" b="1" baseline="30000" dirty="0">
                          <a:solidFill>
                            <a:schemeClr val="tx1"/>
                          </a:solidFill>
                        </a:rPr>
                        <a:t>a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133 (86)/0/20 (13)/1 (&lt;1)</a:t>
                      </a:r>
                      <a:endParaRPr lang="en-US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127 (87)/0/17 (12)/0</a:t>
                      </a:r>
                      <a:endParaRPr lang="en-US" sz="105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683877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ECOG PS ≤1, n (%)</a:t>
                      </a:r>
                      <a:r>
                        <a:rPr lang="en-US" sz="1050" b="1" baseline="30000">
                          <a:solidFill>
                            <a:schemeClr val="tx1"/>
                          </a:solidFill>
                        </a:rPr>
                        <a:t>b</a:t>
                      </a:r>
                      <a:endParaRPr lang="en-US" sz="105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46 (97)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140 (97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401990"/>
                  </a:ext>
                </a:extLst>
              </a:tr>
              <a:tr h="7633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ISS stage at screening, n (%)</a:t>
                      </a:r>
                    </a:p>
                    <a:p>
                      <a:pPr marL="4619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II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III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Unknow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93 (6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39 (2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2 (1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1 (&lt;1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85 (58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40 (27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2 (1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933670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algn="l"/>
                      <a:r>
                        <a:rPr lang="en-US" sz="1050" b="1" strike="noStrike">
                          <a:solidFill>
                            <a:schemeClr val="tx1"/>
                          </a:solidFill>
                        </a:rPr>
                        <a:t>Years since diagnosis, median (range)</a:t>
                      </a:r>
                      <a:endParaRPr lang="en-US" sz="1050" b="1" strike="sngStrike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strike="noStrike" kern="1200">
                          <a:solidFill>
                            <a:schemeClr val="tx1"/>
                          </a:solidFill>
                          <a:effectLst/>
                        </a:rPr>
                        <a:t>4.04 (0.4-16.7)</a:t>
                      </a:r>
                      <a:endParaRPr lang="en-US" sz="1050" strike="noStrike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strike="noStrike">
                          <a:solidFill>
                            <a:schemeClr val="tx1"/>
                          </a:solidFill>
                        </a:rPr>
                        <a:t>3.43 (0.4-17.7)</a:t>
                      </a:r>
                      <a:endParaRPr lang="en-US" sz="1050" strike="noStrike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35003"/>
                  </a:ext>
                </a:extLst>
              </a:tr>
              <a:tr h="6263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Cytogenetic abnormalities, n (%) </a:t>
                      </a:r>
                      <a:endParaRPr lang="en-US" sz="1050" b="1" baseline="30000">
                        <a:solidFill>
                          <a:schemeClr val="tx1"/>
                        </a:solidFill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Standard risk</a:t>
                      </a:r>
                      <a:r>
                        <a:rPr lang="en-US" sz="1050" baseline="3000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>
                          <a:solidFill>
                            <a:schemeClr val="tx1"/>
                          </a:solidFill>
                        </a:rPr>
                        <a:t>High risk</a:t>
                      </a:r>
                      <a:r>
                        <a:rPr lang="en-US" sz="1050" baseline="30000">
                          <a:solidFill>
                            <a:schemeClr val="tx1"/>
                          </a:solidFill>
                        </a:rPr>
                        <a:t>d</a:t>
                      </a:r>
                      <a:endParaRPr lang="en-US" sz="1050" baseline="0">
                        <a:solidFill>
                          <a:schemeClr val="tx1"/>
                        </a:solidFill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Missing or nonevaluable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72 (4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52 (3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31 (20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75 (5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47 (32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5 (17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644606"/>
                  </a:ext>
                </a:extLst>
              </a:tr>
              <a:tr h="489354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Time to relapse after initiation of 1L treatment</a:t>
                      </a:r>
                    </a:p>
                    <a:p>
                      <a:pPr marL="461963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≤12 months</a:t>
                      </a:r>
                      <a:br>
                        <a:rPr lang="en-US" sz="1050">
                          <a:solidFill>
                            <a:schemeClr val="tx1"/>
                          </a:solidFill>
                        </a:rPr>
                      </a:b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&gt;12 months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22 (1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133 (86)</a:t>
                      </a:r>
                      <a:endParaRPr lang="en-US" sz="105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20 (1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127 (86)</a:t>
                      </a:r>
                      <a:endParaRPr lang="en-US" sz="105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2098632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Extramedullary disease, n (%)</a:t>
                      </a:r>
                      <a:endParaRPr lang="en-US" sz="105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0 (13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1 (7)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99801"/>
                  </a:ext>
                </a:extLst>
              </a:tr>
            </a:tbl>
          </a:graphicData>
        </a:graphic>
      </p:graphicFrame>
      <p:sp>
        <p:nvSpPr>
          <p:cNvPr id="12" name="Title 4">
            <a:extLst>
              <a:ext uri="{FF2B5EF4-FFF2-40B4-BE49-F238E27FC236}">
                <a16:creationId xmlns:a16="http://schemas.microsoft.com/office/drawing/2014/main" id="{0BB225E0-6C15-2958-9BF9-97EB58A7FA6E}"/>
              </a:ext>
            </a:extLst>
          </p:cNvPr>
          <p:cNvSpPr txBox="1">
            <a:spLocks/>
          </p:cNvSpPr>
          <p:nvPr/>
        </p:nvSpPr>
        <p:spPr>
          <a:xfrm>
            <a:off x="365124" y="149226"/>
            <a:ext cx="11522075" cy="722312"/>
          </a:xfrm>
          <a:prstGeom prst="rect">
            <a:avLst/>
          </a:prstGeom>
        </p:spPr>
        <p:txBody>
          <a:bodyPr vert="horz" lIns="72000" tIns="7200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DREAMM-8: Baseline Characteristics Were Balance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F1E0CE40-8699-A543-0DD3-D0C50757688A}"/>
              </a:ext>
            </a:extLst>
          </p:cNvPr>
          <p:cNvGraphicFramePr>
            <a:graphicFrameLocks/>
          </p:cNvGraphicFramePr>
          <p:nvPr/>
        </p:nvGraphicFramePr>
        <p:xfrm>
          <a:off x="5802077" y="1630449"/>
          <a:ext cx="6263985" cy="3997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479">
                  <a:extLst>
                    <a:ext uri="{9D8B030D-6E8A-4147-A177-3AD203B41FA5}">
                      <a16:colId xmlns:a16="http://schemas.microsoft.com/office/drawing/2014/main" val="1714412840"/>
                    </a:ext>
                  </a:extLst>
                </a:gridCol>
                <a:gridCol w="823699">
                  <a:extLst>
                    <a:ext uri="{9D8B030D-6E8A-4147-A177-3AD203B41FA5}">
                      <a16:colId xmlns:a16="http://schemas.microsoft.com/office/drawing/2014/main" val="3025547228"/>
                    </a:ext>
                  </a:extLst>
                </a:gridCol>
                <a:gridCol w="823699">
                  <a:extLst>
                    <a:ext uri="{9D8B030D-6E8A-4147-A177-3AD203B41FA5}">
                      <a16:colId xmlns:a16="http://schemas.microsoft.com/office/drawing/2014/main" val="3814741461"/>
                    </a:ext>
                  </a:extLst>
                </a:gridCol>
                <a:gridCol w="774054">
                  <a:extLst>
                    <a:ext uri="{9D8B030D-6E8A-4147-A177-3AD203B41FA5}">
                      <a16:colId xmlns:a16="http://schemas.microsoft.com/office/drawing/2014/main" val="1415950296"/>
                    </a:ext>
                  </a:extLst>
                </a:gridCol>
                <a:gridCol w="774054">
                  <a:extLst>
                    <a:ext uri="{9D8B030D-6E8A-4147-A177-3AD203B41FA5}">
                      <a16:colId xmlns:a16="http://schemas.microsoft.com/office/drawing/2014/main" val="3820136650"/>
                    </a:ext>
                  </a:extLst>
                </a:gridCol>
              </a:tblGrid>
              <a:tr h="289687">
                <a:tc rowSpan="2">
                  <a:txBody>
                    <a:bodyPr/>
                    <a:lstStyle/>
                    <a:p>
                      <a:pPr algn="l"/>
                      <a:r>
                        <a:rPr lang="en-US" sz="1050" dirty="0">
                          <a:solidFill>
                            <a:schemeClr val="tx1"/>
                          </a:solidFill>
                          <a:latin typeface="+mn-lt"/>
                        </a:rPr>
                        <a:t>Prior treatments, n (%)</a:t>
                      </a:r>
                      <a:endParaRPr lang="en-US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ITT population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8394126"/>
                  </a:ext>
                </a:extLst>
              </a:tr>
              <a:tr h="289687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50" b="1" err="1">
                          <a:solidFill>
                            <a:schemeClr val="bg1"/>
                          </a:solidFill>
                          <a:latin typeface="+mn-lt"/>
                        </a:rPr>
                        <a:t>BPd</a:t>
                      </a:r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 (N=155)</a:t>
                      </a:r>
                      <a:endParaRPr lang="en-US" sz="1050" b="1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50" b="1" err="1">
                          <a:solidFill>
                            <a:schemeClr val="bg1"/>
                          </a:solidFill>
                          <a:latin typeface="+mn-lt"/>
                        </a:rPr>
                        <a:t>PVd</a:t>
                      </a:r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 (N=147)</a:t>
                      </a:r>
                      <a:endParaRPr lang="en-US" sz="1050" b="1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32177"/>
                  </a:ext>
                </a:extLst>
              </a:tr>
              <a:tr h="260718">
                <a:tc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Prior LOT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05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sz="105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4110689"/>
                  </a:ext>
                </a:extLst>
              </a:tr>
              <a:tr h="614197">
                <a:tc>
                  <a:txBody>
                    <a:bodyPr/>
                    <a:lstStyle/>
                    <a:p>
                      <a:pPr marL="396875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  </a:t>
                      </a:r>
                    </a:p>
                    <a:p>
                      <a:pPr marL="396875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2 or 3 </a:t>
                      </a:r>
                    </a:p>
                    <a:p>
                      <a:pPr marL="396875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≥4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2 (53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 (35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 (12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7 (52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 (33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 (15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683877"/>
                  </a:ext>
                </a:extLst>
              </a:tr>
              <a:tr h="2607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ASCT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99 (64)</a:t>
                      </a:r>
                      <a:endParaRPr lang="en-US" sz="105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82 (56)</a:t>
                      </a:r>
                      <a:endParaRPr lang="en-US" sz="105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56468"/>
                  </a:ext>
                </a:extLst>
              </a:tr>
              <a:tr h="260718">
                <a:tc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Prior treatment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Exposed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Refractory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Exposed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Refractory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295080"/>
                  </a:ext>
                </a:extLst>
              </a:tr>
              <a:tr h="7933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proteasome inhibitor 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Bortezomib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Carfilzomib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xazomib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40 (90)</a:t>
                      </a:r>
                      <a:endParaRPr lang="en-GB" sz="1050" b="0" kern="1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4 (86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 (22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 (7) 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40 (26)</a:t>
                      </a:r>
                      <a:endParaRPr lang="en-GB" sz="1050" b="0" kern="1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 (10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 (12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(5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36 (93) </a:t>
                      </a:r>
                      <a:endParaRPr lang="en-GB" sz="1050" b="0" kern="1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0 (88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 (25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 (10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35 (24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(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 (1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 (7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219033"/>
                  </a:ext>
                </a:extLst>
              </a:tr>
              <a:tr h="6141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immunomodulatory </a:t>
                      </a:r>
                      <a:r>
                        <a:rPr lang="en-US" sz="1050" b="1" dirty="0" err="1">
                          <a:solidFill>
                            <a:schemeClr val="tx1"/>
                          </a:solidFill>
                          <a:latin typeface="+mn-lt"/>
                        </a:rPr>
                        <a:t>drug</a:t>
                      </a:r>
                      <a:r>
                        <a:rPr lang="en-US" sz="1050" b="1" baseline="30000" dirty="0" err="1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sng" dirty="0">
                          <a:solidFill>
                            <a:schemeClr val="tx1"/>
                          </a:solidFill>
                          <a:latin typeface="+mn-lt"/>
                        </a:rPr>
                        <a:t>Lenalidomide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Thalidomide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55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sng" dirty="0">
                          <a:solidFill>
                            <a:schemeClr val="tx1"/>
                          </a:solidFill>
                          <a:latin typeface="+mn-lt"/>
                        </a:rPr>
                        <a:t>155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49 (32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27 (82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sng" dirty="0">
                          <a:solidFill>
                            <a:schemeClr val="tx1"/>
                          </a:solidFill>
                          <a:latin typeface="+mn-lt"/>
                        </a:rPr>
                        <a:t>125 (8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9 (6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47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47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48 (33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11 (7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11 (7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6 (4)</a:t>
                      </a:r>
                      <a:endParaRPr lang="en-US" sz="105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229290"/>
                  </a:ext>
                </a:extLst>
              </a:tr>
              <a:tr h="6141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anti-CD38 monoclonal </a:t>
                      </a:r>
                      <a:r>
                        <a:rPr lang="en-US" sz="1050" b="1" dirty="0" err="1">
                          <a:solidFill>
                            <a:schemeClr val="tx1"/>
                          </a:solidFill>
                          <a:latin typeface="+mn-lt"/>
                        </a:rPr>
                        <a:t>antibody</a:t>
                      </a:r>
                      <a:r>
                        <a:rPr lang="en-US" sz="1050" b="1" baseline="30000" dirty="0" err="1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Daratumumab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 err="1">
                          <a:solidFill>
                            <a:schemeClr val="tx1"/>
                          </a:solidFill>
                          <a:latin typeface="+mn-lt"/>
                        </a:rPr>
                        <a:t>Isatuximab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8 (2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6 (23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5 (23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3 (2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42 (29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9 (27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 (2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6 (2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4 (23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701624"/>
                  </a:ext>
                </a:extLst>
              </a:tr>
            </a:tbl>
          </a:graphicData>
        </a:graphic>
      </p:graphicFrame>
      <p:sp>
        <p:nvSpPr>
          <p:cNvPr id="7" name="Ορθογώνιο 6">
            <a:extLst>
              <a:ext uri="{FF2B5EF4-FFF2-40B4-BE49-F238E27FC236}">
                <a16:creationId xmlns:a16="http://schemas.microsoft.com/office/drawing/2014/main" id="{AC093775-3ABD-9674-3D8B-E519419A7BFB}"/>
              </a:ext>
            </a:extLst>
          </p:cNvPr>
          <p:cNvSpPr/>
          <p:nvPr/>
        </p:nvSpPr>
        <p:spPr>
          <a:xfrm>
            <a:off x="5802077" y="4387273"/>
            <a:ext cx="6263985" cy="124063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ject 37">
            <a:extLst>
              <a:ext uri="{FF2B5EF4-FFF2-40B4-BE49-F238E27FC236}">
                <a16:creationId xmlns:a16="http://schemas.microsoft.com/office/drawing/2014/main" id="{F3E1DB44-4621-2C14-35EB-DEA4B6D8B8FE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34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E09484B-7A5C-0A2B-3DAC-EABC92A0A1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800">
                <a:latin typeface="+mn-lt"/>
              </a:rPr>
              <a:t>Median follow-up, 21.8 months (range, 0.03-39.23 months).</a:t>
            </a:r>
            <a:br>
              <a:rPr lang="en-US" sz="800">
                <a:latin typeface="+mn-lt"/>
              </a:rPr>
            </a:br>
            <a:r>
              <a:rPr lang="en-US" sz="800">
                <a:latin typeface="+mn-lt"/>
              </a:rPr>
              <a:t>The treatment effect (HR and corresponding 95% CIs) was estimated using the stratified Cox proportional hazards model, and the </a:t>
            </a:r>
            <a:r>
              <a:rPr lang="en-US" sz="800" i="1">
                <a:latin typeface="+mn-lt"/>
              </a:rPr>
              <a:t>P</a:t>
            </a:r>
            <a:r>
              <a:rPr lang="en-US" sz="800">
                <a:latin typeface="+mn-lt"/>
              </a:rPr>
              <a:t> value was produced based on the 1-sided stratified log-rank test. Stratified analyses were adjusted for number of prior lines of therapy and prior bortezomib use.</a:t>
            </a:r>
            <a:br>
              <a:rPr lang="en-US" sz="800">
                <a:latin typeface="+mn-lt"/>
              </a:rPr>
            </a:br>
            <a:r>
              <a:rPr lang="en-US" sz="800" err="1">
                <a:latin typeface="+mn-lt"/>
              </a:rPr>
              <a:t>BPd</a:t>
            </a:r>
            <a:r>
              <a:rPr lang="en-US" sz="800">
                <a:latin typeface="+mn-lt"/>
              </a:rPr>
              <a:t>, </a:t>
            </a:r>
            <a:r>
              <a:rPr lang="en-US" sz="800" err="1">
                <a:latin typeface="+mn-lt"/>
              </a:rPr>
              <a:t>belamaf</a:t>
            </a:r>
            <a:r>
              <a:rPr lang="en-US" sz="800">
                <a:latin typeface="+mn-lt"/>
              </a:rPr>
              <a:t>, pomalidomide, and dexamethasone; HR, hazard ratio; NR, not reported; PFS, progression-free survival; </a:t>
            </a:r>
            <a:r>
              <a:rPr lang="en-US" sz="800" err="1">
                <a:latin typeface="+mn-lt"/>
              </a:rPr>
              <a:t>PVd</a:t>
            </a:r>
            <a:r>
              <a:rPr lang="en-US" sz="800">
                <a:latin typeface="+mn-lt"/>
              </a:rPr>
              <a:t>, pomalidomide, bortezomib, and dexamethasone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B4789F-8032-E6A7-1A43-733316370F59}"/>
              </a:ext>
            </a:extLst>
          </p:cNvPr>
          <p:cNvSpPr/>
          <p:nvPr/>
        </p:nvSpPr>
        <p:spPr>
          <a:xfrm>
            <a:off x="953045" y="5149998"/>
            <a:ext cx="10296702" cy="567687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P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d to a statistically significant and clinically meaningful reduction in risk of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 progression or death vs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V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HR, 0.52; 95% CI, 0.37-0.73;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.001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8E23C35-B2B4-4E1F-300E-8C9030AB5ECD}"/>
              </a:ext>
            </a:extLst>
          </p:cNvPr>
          <p:cNvGraphicFramePr>
            <a:graphicFrameLocks noGrp="1"/>
          </p:cNvGraphicFramePr>
          <p:nvPr/>
        </p:nvGraphicFramePr>
        <p:xfrm>
          <a:off x="7305330" y="891224"/>
          <a:ext cx="4023360" cy="1184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0013">
                  <a:extLst>
                    <a:ext uri="{9D8B030D-6E8A-4147-A177-3AD203B41FA5}">
                      <a16:colId xmlns:a16="http://schemas.microsoft.com/office/drawing/2014/main" val="3081046418"/>
                    </a:ext>
                  </a:extLst>
                </a:gridCol>
                <a:gridCol w="988131">
                  <a:extLst>
                    <a:ext uri="{9D8B030D-6E8A-4147-A177-3AD203B41FA5}">
                      <a16:colId xmlns:a16="http://schemas.microsoft.com/office/drawing/2014/main" val="2200667277"/>
                    </a:ext>
                  </a:extLst>
                </a:gridCol>
                <a:gridCol w="1205216">
                  <a:extLst>
                    <a:ext uri="{9D8B030D-6E8A-4147-A177-3AD203B41FA5}">
                      <a16:colId xmlns:a16="http://schemas.microsoft.com/office/drawing/2014/main" val="2764920985"/>
                    </a:ext>
                  </a:extLst>
                </a:gridCol>
              </a:tblGrid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PF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bg1"/>
                          </a:solidFill>
                          <a:latin typeface="+mj-lt"/>
                        </a:rPr>
                        <a:t>BPd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latin typeface="+mj-lt"/>
                        </a:rPr>
                        <a:t> (N=155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bg1"/>
                          </a:solidFill>
                          <a:latin typeface="+mj-lt"/>
                        </a:rPr>
                        <a:t>PVd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latin typeface="+mj-lt"/>
                        </a:rPr>
                        <a:t> (N=147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892191"/>
                  </a:ext>
                </a:extLst>
              </a:tr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Events, n (%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62 (40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</a:rPr>
                        <a:t>80 (54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598445"/>
                  </a:ext>
                </a:extLst>
              </a:tr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Median PFS (95% CI), month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+mj-lt"/>
                        </a:rPr>
                        <a:t>NR</a:t>
                      </a: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 (20.6-NR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</a:rPr>
                        <a:t>12.7</a:t>
                      </a:r>
                      <a:r>
                        <a:rPr lang="en-US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</a:rPr>
                        <a:t> (9.1-18.5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82177"/>
                  </a:ext>
                </a:extLst>
              </a:tr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HR (95% CI); </a:t>
                      </a: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+mj-lt"/>
                        </a:rPr>
                        <a:t>P </a:t>
                      </a: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value</a:t>
                      </a:r>
                      <a:endParaRPr lang="en-US" sz="10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0.5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(0.37-0.73); </a:t>
                      </a: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&lt;.001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98115"/>
                  </a:ext>
                </a:extLst>
              </a:tr>
            </a:tbl>
          </a:graphicData>
        </a:graphic>
      </p:graphicFrame>
      <p:sp>
        <p:nvSpPr>
          <p:cNvPr id="16" name="Freeform 11">
            <a:extLst>
              <a:ext uri="{FF2B5EF4-FFF2-40B4-BE49-F238E27FC236}">
                <a16:creationId xmlns:a16="http://schemas.microsoft.com/office/drawing/2014/main" id="{0D9C626E-B290-5A99-7152-175B00DC2178}"/>
              </a:ext>
            </a:extLst>
          </p:cNvPr>
          <p:cNvSpPr/>
          <p:nvPr/>
        </p:nvSpPr>
        <p:spPr>
          <a:xfrm>
            <a:off x="1856876" y="1004820"/>
            <a:ext cx="9487399" cy="2795798"/>
          </a:xfrm>
          <a:custGeom>
            <a:avLst/>
            <a:gdLst>
              <a:gd name="connsiteX0" fmla="*/ 0 w 7527875"/>
              <a:gd name="connsiteY0" fmla="*/ 0 h 2579300"/>
              <a:gd name="connsiteX1" fmla="*/ 0 w 7527875"/>
              <a:gd name="connsiteY1" fmla="*/ 2579301 h 2579300"/>
              <a:gd name="connsiteX2" fmla="*/ 7527875 w 7527875"/>
              <a:gd name="connsiteY2" fmla="*/ 2579301 h 257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27875" h="2579300">
                <a:moveTo>
                  <a:pt x="0" y="0"/>
                </a:moveTo>
                <a:lnTo>
                  <a:pt x="0" y="2579301"/>
                </a:lnTo>
                <a:lnTo>
                  <a:pt x="7527875" y="2579301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8D865AED-9BD6-586F-54F6-CAB94D691642}"/>
              </a:ext>
            </a:extLst>
          </p:cNvPr>
          <p:cNvSpPr/>
          <p:nvPr/>
        </p:nvSpPr>
        <p:spPr>
          <a:xfrm>
            <a:off x="1096731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Freeform 14">
            <a:extLst>
              <a:ext uri="{FF2B5EF4-FFF2-40B4-BE49-F238E27FC236}">
                <a16:creationId xmlns:a16="http://schemas.microsoft.com/office/drawing/2014/main" id="{535D4471-1205-194C-01D2-D14B7B661330}"/>
              </a:ext>
            </a:extLst>
          </p:cNvPr>
          <p:cNvSpPr/>
          <p:nvPr/>
        </p:nvSpPr>
        <p:spPr>
          <a:xfrm>
            <a:off x="1073783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id="{62EDA09F-1710-075B-2B1C-E85A7C788BFF}"/>
              </a:ext>
            </a:extLst>
          </p:cNvPr>
          <p:cNvSpPr/>
          <p:nvPr/>
        </p:nvSpPr>
        <p:spPr>
          <a:xfrm>
            <a:off x="1051220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2D91FEB3-5FD7-0CA1-EDA4-7289361B2A4A}"/>
              </a:ext>
            </a:extLst>
          </p:cNvPr>
          <p:cNvSpPr/>
          <p:nvPr/>
        </p:nvSpPr>
        <p:spPr>
          <a:xfrm>
            <a:off x="1028437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83CB79E0-3779-0DFC-DEA9-3CAA74E75EA8}"/>
              </a:ext>
            </a:extLst>
          </p:cNvPr>
          <p:cNvSpPr/>
          <p:nvPr/>
        </p:nvSpPr>
        <p:spPr>
          <a:xfrm>
            <a:off x="10060944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869DB650-5222-0D6A-3EC7-F772A7F7AB02}"/>
              </a:ext>
            </a:extLst>
          </p:cNvPr>
          <p:cNvSpPr/>
          <p:nvPr/>
        </p:nvSpPr>
        <p:spPr>
          <a:xfrm>
            <a:off x="9830363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id="{92A60C30-95AE-59E8-82DD-B103FAF0C4B6}"/>
              </a:ext>
            </a:extLst>
          </p:cNvPr>
          <p:cNvSpPr/>
          <p:nvPr/>
        </p:nvSpPr>
        <p:spPr>
          <a:xfrm>
            <a:off x="960583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Freeform 20">
            <a:extLst>
              <a:ext uri="{FF2B5EF4-FFF2-40B4-BE49-F238E27FC236}">
                <a16:creationId xmlns:a16="http://schemas.microsoft.com/office/drawing/2014/main" id="{8CE66CC9-56DD-AFCA-B023-FF81B4AD40D2}"/>
              </a:ext>
            </a:extLst>
          </p:cNvPr>
          <p:cNvSpPr/>
          <p:nvPr/>
        </p:nvSpPr>
        <p:spPr>
          <a:xfrm>
            <a:off x="937690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Freeform 21">
            <a:extLst>
              <a:ext uri="{FF2B5EF4-FFF2-40B4-BE49-F238E27FC236}">
                <a16:creationId xmlns:a16="http://schemas.microsoft.com/office/drawing/2014/main" id="{00BB885F-3F56-97F1-BB77-85144AFCE5B9}"/>
              </a:ext>
            </a:extLst>
          </p:cNvPr>
          <p:cNvSpPr/>
          <p:nvPr/>
        </p:nvSpPr>
        <p:spPr>
          <a:xfrm>
            <a:off x="914962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Freeform 22">
            <a:extLst>
              <a:ext uri="{FF2B5EF4-FFF2-40B4-BE49-F238E27FC236}">
                <a16:creationId xmlns:a16="http://schemas.microsoft.com/office/drawing/2014/main" id="{CD18114C-CD03-0586-91D2-B4407354BAFE}"/>
              </a:ext>
            </a:extLst>
          </p:cNvPr>
          <p:cNvSpPr/>
          <p:nvPr/>
        </p:nvSpPr>
        <p:spPr>
          <a:xfrm>
            <a:off x="892069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Freeform 23">
            <a:extLst>
              <a:ext uri="{FF2B5EF4-FFF2-40B4-BE49-F238E27FC236}">
                <a16:creationId xmlns:a16="http://schemas.microsoft.com/office/drawing/2014/main" id="{A490AD2D-A402-A005-C452-2B2BA94F5A93}"/>
              </a:ext>
            </a:extLst>
          </p:cNvPr>
          <p:cNvSpPr/>
          <p:nvPr/>
        </p:nvSpPr>
        <p:spPr>
          <a:xfrm>
            <a:off x="869561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Freeform 24">
            <a:extLst>
              <a:ext uri="{FF2B5EF4-FFF2-40B4-BE49-F238E27FC236}">
                <a16:creationId xmlns:a16="http://schemas.microsoft.com/office/drawing/2014/main" id="{77F96FAE-4E9A-2EDF-21DA-7DA1BB461A75}"/>
              </a:ext>
            </a:extLst>
          </p:cNvPr>
          <p:cNvSpPr/>
          <p:nvPr/>
        </p:nvSpPr>
        <p:spPr>
          <a:xfrm>
            <a:off x="846888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Freeform 25">
            <a:extLst>
              <a:ext uri="{FF2B5EF4-FFF2-40B4-BE49-F238E27FC236}">
                <a16:creationId xmlns:a16="http://schemas.microsoft.com/office/drawing/2014/main" id="{FAECF101-92BB-99B1-2571-477BB6F49E52}"/>
              </a:ext>
            </a:extLst>
          </p:cNvPr>
          <p:cNvSpPr/>
          <p:nvPr/>
        </p:nvSpPr>
        <p:spPr>
          <a:xfrm>
            <a:off x="824105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Freeform 26">
            <a:extLst>
              <a:ext uri="{FF2B5EF4-FFF2-40B4-BE49-F238E27FC236}">
                <a16:creationId xmlns:a16="http://schemas.microsoft.com/office/drawing/2014/main" id="{9DA19BF6-EAE6-3DC7-9730-139DDAC08BE7}"/>
              </a:ext>
            </a:extLst>
          </p:cNvPr>
          <p:cNvSpPr/>
          <p:nvPr/>
        </p:nvSpPr>
        <p:spPr>
          <a:xfrm>
            <a:off x="801543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Freeform 27">
            <a:extLst>
              <a:ext uri="{FF2B5EF4-FFF2-40B4-BE49-F238E27FC236}">
                <a16:creationId xmlns:a16="http://schemas.microsoft.com/office/drawing/2014/main" id="{FE13BE0A-9EE6-041A-20DC-E7167CF79E71}"/>
              </a:ext>
            </a:extLst>
          </p:cNvPr>
          <p:cNvSpPr/>
          <p:nvPr/>
        </p:nvSpPr>
        <p:spPr>
          <a:xfrm>
            <a:off x="778925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55931E34-9111-BDB6-B1FB-43C7AF241C4F}"/>
              </a:ext>
            </a:extLst>
          </p:cNvPr>
          <p:cNvSpPr/>
          <p:nvPr/>
        </p:nvSpPr>
        <p:spPr>
          <a:xfrm>
            <a:off x="756087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Freeform 29">
            <a:extLst>
              <a:ext uri="{FF2B5EF4-FFF2-40B4-BE49-F238E27FC236}">
                <a16:creationId xmlns:a16="http://schemas.microsoft.com/office/drawing/2014/main" id="{6D5FB460-1D56-D1CD-93D1-F6D8613E465B}"/>
              </a:ext>
            </a:extLst>
          </p:cNvPr>
          <p:cNvSpPr/>
          <p:nvPr/>
        </p:nvSpPr>
        <p:spPr>
          <a:xfrm>
            <a:off x="733249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8FCE9590-2885-00AD-675F-B3C58CE86FF7}"/>
              </a:ext>
            </a:extLst>
          </p:cNvPr>
          <p:cNvSpPr/>
          <p:nvPr/>
        </p:nvSpPr>
        <p:spPr>
          <a:xfrm>
            <a:off x="710851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AF981121-EA97-F25D-A712-1800D6702D95}"/>
              </a:ext>
            </a:extLst>
          </p:cNvPr>
          <p:cNvSpPr/>
          <p:nvPr/>
        </p:nvSpPr>
        <p:spPr>
          <a:xfrm>
            <a:off x="688013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9393F13B-DAAD-87D0-7E4D-F3827B0A9108}"/>
              </a:ext>
            </a:extLst>
          </p:cNvPr>
          <p:cNvSpPr/>
          <p:nvPr/>
        </p:nvSpPr>
        <p:spPr>
          <a:xfrm>
            <a:off x="665395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A861C74F-BE2A-AADE-0ABA-466E3A51A101}"/>
              </a:ext>
            </a:extLst>
          </p:cNvPr>
          <p:cNvSpPr/>
          <p:nvPr/>
        </p:nvSpPr>
        <p:spPr>
          <a:xfrm>
            <a:off x="642502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E03A6CDF-0B71-0066-6400-16B9E1BBE9D0}"/>
              </a:ext>
            </a:extLst>
          </p:cNvPr>
          <p:cNvSpPr/>
          <p:nvPr/>
        </p:nvSpPr>
        <p:spPr>
          <a:xfrm>
            <a:off x="619994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reeform 35">
            <a:extLst>
              <a:ext uri="{FF2B5EF4-FFF2-40B4-BE49-F238E27FC236}">
                <a16:creationId xmlns:a16="http://schemas.microsoft.com/office/drawing/2014/main" id="{760A5E9C-2452-CD26-275B-8759C85421B9}"/>
              </a:ext>
            </a:extLst>
          </p:cNvPr>
          <p:cNvSpPr/>
          <p:nvPr/>
        </p:nvSpPr>
        <p:spPr>
          <a:xfrm>
            <a:off x="597211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reeform 36">
            <a:extLst>
              <a:ext uri="{FF2B5EF4-FFF2-40B4-BE49-F238E27FC236}">
                <a16:creationId xmlns:a16="http://schemas.microsoft.com/office/drawing/2014/main" id="{546876D6-1AB9-CCC8-AE70-FC3AE8A84A41}"/>
              </a:ext>
            </a:extLst>
          </p:cNvPr>
          <p:cNvSpPr/>
          <p:nvPr/>
        </p:nvSpPr>
        <p:spPr>
          <a:xfrm>
            <a:off x="574649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Freeform 37">
            <a:extLst>
              <a:ext uri="{FF2B5EF4-FFF2-40B4-BE49-F238E27FC236}">
                <a16:creationId xmlns:a16="http://schemas.microsoft.com/office/drawing/2014/main" id="{1CD569E9-E4D8-1389-3A3B-5D92062A8CA1}"/>
              </a:ext>
            </a:extLst>
          </p:cNvPr>
          <p:cNvSpPr/>
          <p:nvPr/>
        </p:nvSpPr>
        <p:spPr>
          <a:xfrm>
            <a:off x="551535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Freeform 38">
            <a:extLst>
              <a:ext uri="{FF2B5EF4-FFF2-40B4-BE49-F238E27FC236}">
                <a16:creationId xmlns:a16="http://schemas.microsoft.com/office/drawing/2014/main" id="{8E121088-3DE0-6995-4D19-E6ECEFCEECBC}"/>
              </a:ext>
            </a:extLst>
          </p:cNvPr>
          <p:cNvSpPr/>
          <p:nvPr/>
        </p:nvSpPr>
        <p:spPr>
          <a:xfrm>
            <a:off x="529028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reeform 39">
            <a:extLst>
              <a:ext uri="{FF2B5EF4-FFF2-40B4-BE49-F238E27FC236}">
                <a16:creationId xmlns:a16="http://schemas.microsoft.com/office/drawing/2014/main" id="{D9B1DFF6-60D4-C10B-166E-160F75C5237E}"/>
              </a:ext>
            </a:extLst>
          </p:cNvPr>
          <p:cNvSpPr/>
          <p:nvPr/>
        </p:nvSpPr>
        <p:spPr>
          <a:xfrm>
            <a:off x="506355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Freeform 40">
            <a:extLst>
              <a:ext uri="{FF2B5EF4-FFF2-40B4-BE49-F238E27FC236}">
                <a16:creationId xmlns:a16="http://schemas.microsoft.com/office/drawing/2014/main" id="{17D7B61E-6A4B-4C0F-A84A-1B219108E1EC}"/>
              </a:ext>
            </a:extLst>
          </p:cNvPr>
          <p:cNvSpPr/>
          <p:nvPr/>
        </p:nvSpPr>
        <p:spPr>
          <a:xfrm>
            <a:off x="483517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Freeform 41">
            <a:extLst>
              <a:ext uri="{FF2B5EF4-FFF2-40B4-BE49-F238E27FC236}">
                <a16:creationId xmlns:a16="http://schemas.microsoft.com/office/drawing/2014/main" id="{558662B7-6239-4011-598E-BC3F693EBDAE}"/>
              </a:ext>
            </a:extLst>
          </p:cNvPr>
          <p:cNvSpPr/>
          <p:nvPr/>
        </p:nvSpPr>
        <p:spPr>
          <a:xfrm>
            <a:off x="4608443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Freeform 42">
            <a:extLst>
              <a:ext uri="{FF2B5EF4-FFF2-40B4-BE49-F238E27FC236}">
                <a16:creationId xmlns:a16="http://schemas.microsoft.com/office/drawing/2014/main" id="{031F717C-C8A5-39D9-2B41-E546A4DCF046}"/>
              </a:ext>
            </a:extLst>
          </p:cNvPr>
          <p:cNvSpPr/>
          <p:nvPr/>
        </p:nvSpPr>
        <p:spPr>
          <a:xfrm>
            <a:off x="4381713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Freeform 43">
            <a:extLst>
              <a:ext uri="{FF2B5EF4-FFF2-40B4-BE49-F238E27FC236}">
                <a16:creationId xmlns:a16="http://schemas.microsoft.com/office/drawing/2014/main" id="{67F6A81E-C4E8-492B-17AD-76EBE82BD239}"/>
              </a:ext>
            </a:extLst>
          </p:cNvPr>
          <p:cNvSpPr/>
          <p:nvPr/>
        </p:nvSpPr>
        <p:spPr>
          <a:xfrm>
            <a:off x="415498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44">
            <a:extLst>
              <a:ext uri="{FF2B5EF4-FFF2-40B4-BE49-F238E27FC236}">
                <a16:creationId xmlns:a16="http://schemas.microsoft.com/office/drawing/2014/main" id="{C71094F8-B2FC-E865-B8FF-3E2BFED7064E}"/>
              </a:ext>
            </a:extLst>
          </p:cNvPr>
          <p:cNvSpPr/>
          <p:nvPr/>
        </p:nvSpPr>
        <p:spPr>
          <a:xfrm>
            <a:off x="392825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reeform 45">
            <a:extLst>
              <a:ext uri="{FF2B5EF4-FFF2-40B4-BE49-F238E27FC236}">
                <a16:creationId xmlns:a16="http://schemas.microsoft.com/office/drawing/2014/main" id="{685EFD03-6B32-A120-964C-9512C03DABD7}"/>
              </a:ext>
            </a:extLst>
          </p:cNvPr>
          <p:cNvSpPr/>
          <p:nvPr/>
        </p:nvSpPr>
        <p:spPr>
          <a:xfrm>
            <a:off x="3701527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reeform 46">
            <a:extLst>
              <a:ext uri="{FF2B5EF4-FFF2-40B4-BE49-F238E27FC236}">
                <a16:creationId xmlns:a16="http://schemas.microsoft.com/office/drawing/2014/main" id="{7E83FBF8-837D-CEA0-D371-433C00BE4518}"/>
              </a:ext>
            </a:extLst>
          </p:cNvPr>
          <p:cNvSpPr/>
          <p:nvPr/>
        </p:nvSpPr>
        <p:spPr>
          <a:xfrm>
            <a:off x="347259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reeform 47">
            <a:extLst>
              <a:ext uri="{FF2B5EF4-FFF2-40B4-BE49-F238E27FC236}">
                <a16:creationId xmlns:a16="http://schemas.microsoft.com/office/drawing/2014/main" id="{A764C2DF-7E69-258B-F257-4E3FA2418DB8}"/>
              </a:ext>
            </a:extLst>
          </p:cNvPr>
          <p:cNvSpPr/>
          <p:nvPr/>
        </p:nvSpPr>
        <p:spPr>
          <a:xfrm>
            <a:off x="3246967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Freeform 48">
            <a:extLst>
              <a:ext uri="{FF2B5EF4-FFF2-40B4-BE49-F238E27FC236}">
                <a16:creationId xmlns:a16="http://schemas.microsoft.com/office/drawing/2014/main" id="{294961D3-8D17-7D5D-2E0D-DCB5C7C58E0E}"/>
              </a:ext>
            </a:extLst>
          </p:cNvPr>
          <p:cNvSpPr/>
          <p:nvPr/>
        </p:nvSpPr>
        <p:spPr>
          <a:xfrm>
            <a:off x="301858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Freeform 49">
            <a:extLst>
              <a:ext uri="{FF2B5EF4-FFF2-40B4-BE49-F238E27FC236}">
                <a16:creationId xmlns:a16="http://schemas.microsoft.com/office/drawing/2014/main" id="{DEBF4355-03C3-DC33-141E-B11E4F915689}"/>
              </a:ext>
            </a:extLst>
          </p:cNvPr>
          <p:cNvSpPr/>
          <p:nvPr/>
        </p:nvSpPr>
        <p:spPr>
          <a:xfrm>
            <a:off x="279130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Freeform 50">
            <a:extLst>
              <a:ext uri="{FF2B5EF4-FFF2-40B4-BE49-F238E27FC236}">
                <a16:creationId xmlns:a16="http://schemas.microsoft.com/office/drawing/2014/main" id="{D50389E0-8F1E-1BE5-F917-FFF1D091CCD6}"/>
              </a:ext>
            </a:extLst>
          </p:cNvPr>
          <p:cNvSpPr/>
          <p:nvPr/>
        </p:nvSpPr>
        <p:spPr>
          <a:xfrm>
            <a:off x="256457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Freeform 51">
            <a:extLst>
              <a:ext uri="{FF2B5EF4-FFF2-40B4-BE49-F238E27FC236}">
                <a16:creationId xmlns:a16="http://schemas.microsoft.com/office/drawing/2014/main" id="{C78B3E5C-FDF7-3752-CFA8-7BBB0ED10938}"/>
              </a:ext>
            </a:extLst>
          </p:cNvPr>
          <p:cNvSpPr/>
          <p:nvPr/>
        </p:nvSpPr>
        <p:spPr>
          <a:xfrm>
            <a:off x="233840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Freeform 52">
            <a:extLst>
              <a:ext uri="{FF2B5EF4-FFF2-40B4-BE49-F238E27FC236}">
                <a16:creationId xmlns:a16="http://schemas.microsoft.com/office/drawing/2014/main" id="{14DC96E0-1025-AEEA-C80E-6D30D2A558BD}"/>
              </a:ext>
            </a:extLst>
          </p:cNvPr>
          <p:cNvSpPr/>
          <p:nvPr/>
        </p:nvSpPr>
        <p:spPr>
          <a:xfrm>
            <a:off x="210947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Freeform 53">
            <a:extLst>
              <a:ext uri="{FF2B5EF4-FFF2-40B4-BE49-F238E27FC236}">
                <a16:creationId xmlns:a16="http://schemas.microsoft.com/office/drawing/2014/main" id="{C457CDBA-2C3D-5E7D-34F0-5BC30E958E12}"/>
              </a:ext>
            </a:extLst>
          </p:cNvPr>
          <p:cNvSpPr/>
          <p:nvPr/>
        </p:nvSpPr>
        <p:spPr>
          <a:xfrm>
            <a:off x="1800248" y="3743822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Freeform 54">
            <a:extLst>
              <a:ext uri="{FF2B5EF4-FFF2-40B4-BE49-F238E27FC236}">
                <a16:creationId xmlns:a16="http://schemas.microsoft.com/office/drawing/2014/main" id="{4514ED50-0939-AEF4-43DB-F5CE9C673C99}"/>
              </a:ext>
            </a:extLst>
          </p:cNvPr>
          <p:cNvSpPr/>
          <p:nvPr/>
        </p:nvSpPr>
        <p:spPr>
          <a:xfrm>
            <a:off x="1800248" y="3254901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Freeform 55">
            <a:extLst>
              <a:ext uri="{FF2B5EF4-FFF2-40B4-BE49-F238E27FC236}">
                <a16:creationId xmlns:a16="http://schemas.microsoft.com/office/drawing/2014/main" id="{5C8081E3-76CB-688F-0829-CE8BB7A8B359}"/>
              </a:ext>
            </a:extLst>
          </p:cNvPr>
          <p:cNvSpPr/>
          <p:nvPr/>
        </p:nvSpPr>
        <p:spPr>
          <a:xfrm>
            <a:off x="1800248" y="2764559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Freeform 56">
            <a:extLst>
              <a:ext uri="{FF2B5EF4-FFF2-40B4-BE49-F238E27FC236}">
                <a16:creationId xmlns:a16="http://schemas.microsoft.com/office/drawing/2014/main" id="{AA8D310F-59F3-8525-3F40-141921B029D3}"/>
              </a:ext>
            </a:extLst>
          </p:cNvPr>
          <p:cNvSpPr/>
          <p:nvPr/>
        </p:nvSpPr>
        <p:spPr>
          <a:xfrm>
            <a:off x="1800248" y="2273271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Freeform 57">
            <a:extLst>
              <a:ext uri="{FF2B5EF4-FFF2-40B4-BE49-F238E27FC236}">
                <a16:creationId xmlns:a16="http://schemas.microsoft.com/office/drawing/2014/main" id="{3BB1F939-BC36-3493-D4D5-922C02C295FF}"/>
              </a:ext>
            </a:extLst>
          </p:cNvPr>
          <p:cNvSpPr/>
          <p:nvPr/>
        </p:nvSpPr>
        <p:spPr>
          <a:xfrm>
            <a:off x="1800248" y="1783402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Freeform 58">
            <a:extLst>
              <a:ext uri="{FF2B5EF4-FFF2-40B4-BE49-F238E27FC236}">
                <a16:creationId xmlns:a16="http://schemas.microsoft.com/office/drawing/2014/main" id="{7F4D64E0-E287-C37C-2417-939EACF75E2F}"/>
              </a:ext>
            </a:extLst>
          </p:cNvPr>
          <p:cNvSpPr/>
          <p:nvPr/>
        </p:nvSpPr>
        <p:spPr>
          <a:xfrm>
            <a:off x="1800248" y="1292588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Freeform 59">
            <a:extLst>
              <a:ext uri="{FF2B5EF4-FFF2-40B4-BE49-F238E27FC236}">
                <a16:creationId xmlns:a16="http://schemas.microsoft.com/office/drawing/2014/main" id="{AF3B788C-5BF2-2F61-AF33-F95B059F51CC}"/>
              </a:ext>
            </a:extLst>
          </p:cNvPr>
          <p:cNvSpPr/>
          <p:nvPr/>
        </p:nvSpPr>
        <p:spPr>
          <a:xfrm>
            <a:off x="2118825" y="1306314"/>
            <a:ext cx="7740153" cy="1184203"/>
          </a:xfrm>
          <a:custGeom>
            <a:avLst/>
            <a:gdLst>
              <a:gd name="connsiteX0" fmla="*/ 0 w 6141505"/>
              <a:gd name="connsiteY0" fmla="*/ 0 h 1092502"/>
              <a:gd name="connsiteX1" fmla="*/ 81654 w 6141505"/>
              <a:gd name="connsiteY1" fmla="*/ 0 h 1092502"/>
              <a:gd name="connsiteX2" fmla="*/ 81654 w 6141505"/>
              <a:gd name="connsiteY2" fmla="*/ 16593 h 1092502"/>
              <a:gd name="connsiteX3" fmla="*/ 163744 w 6141505"/>
              <a:gd name="connsiteY3" fmla="*/ 16593 h 1092502"/>
              <a:gd name="connsiteX4" fmla="*/ 163744 w 6141505"/>
              <a:gd name="connsiteY4" fmla="*/ 31002 h 1092502"/>
              <a:gd name="connsiteX5" fmla="*/ 172914 w 6141505"/>
              <a:gd name="connsiteY5" fmla="*/ 31002 h 1092502"/>
              <a:gd name="connsiteX6" fmla="*/ 172914 w 6141505"/>
              <a:gd name="connsiteY6" fmla="*/ 62005 h 1092502"/>
              <a:gd name="connsiteX7" fmla="*/ 184704 w 6141505"/>
              <a:gd name="connsiteY7" fmla="*/ 62005 h 1092502"/>
              <a:gd name="connsiteX8" fmla="*/ 184704 w 6141505"/>
              <a:gd name="connsiteY8" fmla="*/ 77724 h 1092502"/>
              <a:gd name="connsiteX9" fmla="*/ 254568 w 6141505"/>
              <a:gd name="connsiteY9" fmla="*/ 77724 h 1092502"/>
              <a:gd name="connsiteX10" fmla="*/ 254568 w 6141505"/>
              <a:gd name="connsiteY10" fmla="*/ 94753 h 1092502"/>
              <a:gd name="connsiteX11" fmla="*/ 323996 w 6141505"/>
              <a:gd name="connsiteY11" fmla="*/ 94753 h 1092502"/>
              <a:gd name="connsiteX12" fmla="*/ 323996 w 6141505"/>
              <a:gd name="connsiteY12" fmla="*/ 110036 h 1092502"/>
              <a:gd name="connsiteX13" fmla="*/ 337532 w 6141505"/>
              <a:gd name="connsiteY13" fmla="*/ 110036 h 1092502"/>
              <a:gd name="connsiteX14" fmla="*/ 337532 w 6141505"/>
              <a:gd name="connsiteY14" fmla="*/ 124882 h 1092502"/>
              <a:gd name="connsiteX15" fmla="*/ 348448 w 6141505"/>
              <a:gd name="connsiteY15" fmla="*/ 124882 h 1092502"/>
              <a:gd name="connsiteX16" fmla="*/ 348448 w 6141505"/>
              <a:gd name="connsiteY16" fmla="*/ 142348 h 1092502"/>
              <a:gd name="connsiteX17" fmla="*/ 355871 w 6141505"/>
              <a:gd name="connsiteY17" fmla="*/ 142348 h 1092502"/>
              <a:gd name="connsiteX18" fmla="*/ 355871 w 6141505"/>
              <a:gd name="connsiteY18" fmla="*/ 155448 h 1092502"/>
              <a:gd name="connsiteX19" fmla="*/ 479007 w 6141505"/>
              <a:gd name="connsiteY19" fmla="*/ 155448 h 1092502"/>
              <a:gd name="connsiteX20" fmla="*/ 479007 w 6141505"/>
              <a:gd name="connsiteY20" fmla="*/ 169421 h 1092502"/>
              <a:gd name="connsiteX21" fmla="*/ 489923 w 6141505"/>
              <a:gd name="connsiteY21" fmla="*/ 169421 h 1092502"/>
              <a:gd name="connsiteX22" fmla="*/ 489923 w 6141505"/>
              <a:gd name="connsiteY22" fmla="*/ 186014 h 1092502"/>
              <a:gd name="connsiteX23" fmla="*/ 497783 w 6141505"/>
              <a:gd name="connsiteY23" fmla="*/ 186014 h 1092502"/>
              <a:gd name="connsiteX24" fmla="*/ 497783 w 6141505"/>
              <a:gd name="connsiteY24" fmla="*/ 201733 h 1092502"/>
              <a:gd name="connsiteX25" fmla="*/ 509136 w 6141505"/>
              <a:gd name="connsiteY25" fmla="*/ 201733 h 1092502"/>
              <a:gd name="connsiteX26" fmla="*/ 509136 w 6141505"/>
              <a:gd name="connsiteY26" fmla="*/ 217889 h 1092502"/>
              <a:gd name="connsiteX27" fmla="*/ 537955 w 6141505"/>
              <a:gd name="connsiteY27" fmla="*/ 217889 h 1092502"/>
              <a:gd name="connsiteX28" fmla="*/ 537955 w 6141505"/>
              <a:gd name="connsiteY28" fmla="*/ 233609 h 1092502"/>
              <a:gd name="connsiteX29" fmla="*/ 626159 w 6141505"/>
              <a:gd name="connsiteY29" fmla="*/ 233609 h 1092502"/>
              <a:gd name="connsiteX30" fmla="*/ 626159 w 6141505"/>
              <a:gd name="connsiteY30" fmla="*/ 248891 h 1092502"/>
              <a:gd name="connsiteX31" fmla="*/ 667640 w 6141505"/>
              <a:gd name="connsiteY31" fmla="*/ 248891 h 1092502"/>
              <a:gd name="connsiteX32" fmla="*/ 667640 w 6141505"/>
              <a:gd name="connsiteY32" fmla="*/ 281640 h 1092502"/>
              <a:gd name="connsiteX33" fmla="*/ 723095 w 6141505"/>
              <a:gd name="connsiteY33" fmla="*/ 281640 h 1092502"/>
              <a:gd name="connsiteX34" fmla="*/ 723095 w 6141505"/>
              <a:gd name="connsiteY34" fmla="*/ 296050 h 1092502"/>
              <a:gd name="connsiteX35" fmla="*/ 782480 w 6141505"/>
              <a:gd name="connsiteY35" fmla="*/ 296050 h 1092502"/>
              <a:gd name="connsiteX36" fmla="*/ 782480 w 6141505"/>
              <a:gd name="connsiteY36" fmla="*/ 312643 h 1092502"/>
              <a:gd name="connsiteX37" fmla="*/ 995129 w 6141505"/>
              <a:gd name="connsiteY37" fmla="*/ 312643 h 1092502"/>
              <a:gd name="connsiteX38" fmla="*/ 995129 w 6141505"/>
              <a:gd name="connsiteY38" fmla="*/ 330545 h 1092502"/>
              <a:gd name="connsiteX39" fmla="*/ 1001242 w 6141505"/>
              <a:gd name="connsiteY39" fmla="*/ 330545 h 1092502"/>
              <a:gd name="connsiteX40" fmla="*/ 1001242 w 6141505"/>
              <a:gd name="connsiteY40" fmla="*/ 376394 h 1092502"/>
              <a:gd name="connsiteX41" fmla="*/ 1007792 w 6141505"/>
              <a:gd name="connsiteY41" fmla="*/ 376394 h 1092502"/>
              <a:gd name="connsiteX42" fmla="*/ 1007792 w 6141505"/>
              <a:gd name="connsiteY42" fmla="*/ 390803 h 1092502"/>
              <a:gd name="connsiteX43" fmla="*/ 1124378 w 6141505"/>
              <a:gd name="connsiteY43" fmla="*/ 390803 h 1092502"/>
              <a:gd name="connsiteX44" fmla="*/ 1124378 w 6141505"/>
              <a:gd name="connsiteY44" fmla="*/ 407833 h 1092502"/>
              <a:gd name="connsiteX45" fmla="*/ 1167170 w 6141505"/>
              <a:gd name="connsiteY45" fmla="*/ 407833 h 1092502"/>
              <a:gd name="connsiteX46" fmla="*/ 1167170 w 6141505"/>
              <a:gd name="connsiteY46" fmla="*/ 423989 h 1092502"/>
              <a:gd name="connsiteX47" fmla="*/ 1277643 w 6141505"/>
              <a:gd name="connsiteY47" fmla="*/ 423989 h 1092502"/>
              <a:gd name="connsiteX48" fmla="*/ 1277643 w 6141505"/>
              <a:gd name="connsiteY48" fmla="*/ 440145 h 1092502"/>
              <a:gd name="connsiteX49" fmla="*/ 1289432 w 6141505"/>
              <a:gd name="connsiteY49" fmla="*/ 440145 h 1092502"/>
              <a:gd name="connsiteX50" fmla="*/ 1289432 w 6141505"/>
              <a:gd name="connsiteY50" fmla="*/ 456738 h 1092502"/>
              <a:gd name="connsiteX51" fmla="*/ 1474573 w 6141505"/>
              <a:gd name="connsiteY51" fmla="*/ 456738 h 1092502"/>
              <a:gd name="connsiteX52" fmla="*/ 1474573 w 6141505"/>
              <a:gd name="connsiteY52" fmla="*/ 472457 h 1092502"/>
              <a:gd name="connsiteX53" fmla="*/ 1490292 w 6141505"/>
              <a:gd name="connsiteY53" fmla="*/ 472457 h 1092502"/>
              <a:gd name="connsiteX54" fmla="*/ 1490292 w 6141505"/>
              <a:gd name="connsiteY54" fmla="*/ 488176 h 1092502"/>
              <a:gd name="connsiteX55" fmla="*/ 1650980 w 6141505"/>
              <a:gd name="connsiteY55" fmla="*/ 488176 h 1092502"/>
              <a:gd name="connsiteX56" fmla="*/ 1650980 w 6141505"/>
              <a:gd name="connsiteY56" fmla="*/ 505206 h 1092502"/>
              <a:gd name="connsiteX57" fmla="*/ 1686786 w 6141505"/>
              <a:gd name="connsiteY57" fmla="*/ 505206 h 1092502"/>
              <a:gd name="connsiteX58" fmla="*/ 1686786 w 6141505"/>
              <a:gd name="connsiteY58" fmla="*/ 520489 h 1092502"/>
              <a:gd name="connsiteX59" fmla="*/ 1821274 w 6141505"/>
              <a:gd name="connsiteY59" fmla="*/ 520489 h 1092502"/>
              <a:gd name="connsiteX60" fmla="*/ 1821274 w 6141505"/>
              <a:gd name="connsiteY60" fmla="*/ 537518 h 1092502"/>
              <a:gd name="connsiteX61" fmla="*/ 1840487 w 6141505"/>
              <a:gd name="connsiteY61" fmla="*/ 537518 h 1092502"/>
              <a:gd name="connsiteX62" fmla="*/ 1840487 w 6141505"/>
              <a:gd name="connsiteY62" fmla="*/ 554984 h 1092502"/>
              <a:gd name="connsiteX63" fmla="*/ 1906421 w 6141505"/>
              <a:gd name="connsiteY63" fmla="*/ 554984 h 1092502"/>
              <a:gd name="connsiteX64" fmla="*/ 1906421 w 6141505"/>
              <a:gd name="connsiteY64" fmla="*/ 572014 h 1092502"/>
              <a:gd name="connsiteX65" fmla="*/ 2002048 w 6141505"/>
              <a:gd name="connsiteY65" fmla="*/ 572014 h 1092502"/>
              <a:gd name="connsiteX66" fmla="*/ 2002048 w 6141505"/>
              <a:gd name="connsiteY66" fmla="*/ 587733 h 1092502"/>
              <a:gd name="connsiteX67" fmla="*/ 2028684 w 6141505"/>
              <a:gd name="connsiteY67" fmla="*/ 587733 h 1092502"/>
              <a:gd name="connsiteX68" fmla="*/ 2028684 w 6141505"/>
              <a:gd name="connsiteY68" fmla="*/ 602579 h 1092502"/>
              <a:gd name="connsiteX69" fmla="*/ 2070166 w 6141505"/>
              <a:gd name="connsiteY69" fmla="*/ 602579 h 1092502"/>
              <a:gd name="connsiteX70" fmla="*/ 2070166 w 6141505"/>
              <a:gd name="connsiteY70" fmla="*/ 619609 h 1092502"/>
              <a:gd name="connsiteX71" fmla="*/ 2120381 w 6141505"/>
              <a:gd name="connsiteY71" fmla="*/ 619609 h 1092502"/>
              <a:gd name="connsiteX72" fmla="*/ 2120381 w 6141505"/>
              <a:gd name="connsiteY72" fmla="*/ 636638 h 1092502"/>
              <a:gd name="connsiteX73" fmla="*/ 2248320 w 6141505"/>
              <a:gd name="connsiteY73" fmla="*/ 636638 h 1092502"/>
              <a:gd name="connsiteX74" fmla="*/ 2248320 w 6141505"/>
              <a:gd name="connsiteY74" fmla="*/ 653667 h 1092502"/>
              <a:gd name="connsiteX75" fmla="*/ 2411191 w 6141505"/>
              <a:gd name="connsiteY75" fmla="*/ 653667 h 1092502"/>
              <a:gd name="connsiteX76" fmla="*/ 2411191 w 6141505"/>
              <a:gd name="connsiteY76" fmla="*/ 669387 h 1092502"/>
              <a:gd name="connsiteX77" fmla="*/ 2421670 w 6141505"/>
              <a:gd name="connsiteY77" fmla="*/ 669387 h 1092502"/>
              <a:gd name="connsiteX78" fmla="*/ 2421670 w 6141505"/>
              <a:gd name="connsiteY78" fmla="*/ 688163 h 1092502"/>
              <a:gd name="connsiteX79" fmla="*/ 2504197 w 6141505"/>
              <a:gd name="connsiteY79" fmla="*/ 688163 h 1092502"/>
              <a:gd name="connsiteX80" fmla="*/ 2504197 w 6141505"/>
              <a:gd name="connsiteY80" fmla="*/ 707376 h 1092502"/>
              <a:gd name="connsiteX81" fmla="*/ 2508564 w 6141505"/>
              <a:gd name="connsiteY81" fmla="*/ 707376 h 1092502"/>
              <a:gd name="connsiteX82" fmla="*/ 2508564 w 6141505"/>
              <a:gd name="connsiteY82" fmla="*/ 725278 h 1092502"/>
              <a:gd name="connsiteX83" fmla="*/ 2515987 w 6141505"/>
              <a:gd name="connsiteY83" fmla="*/ 725278 h 1092502"/>
              <a:gd name="connsiteX84" fmla="*/ 2515987 w 6141505"/>
              <a:gd name="connsiteY84" fmla="*/ 741871 h 1092502"/>
              <a:gd name="connsiteX85" fmla="*/ 2698071 w 6141505"/>
              <a:gd name="connsiteY85" fmla="*/ 741871 h 1092502"/>
              <a:gd name="connsiteX86" fmla="*/ 2698071 w 6141505"/>
              <a:gd name="connsiteY86" fmla="*/ 759337 h 1092502"/>
              <a:gd name="connsiteX87" fmla="*/ 2743483 w 6141505"/>
              <a:gd name="connsiteY87" fmla="*/ 759337 h 1092502"/>
              <a:gd name="connsiteX88" fmla="*/ 2743483 w 6141505"/>
              <a:gd name="connsiteY88" fmla="*/ 780296 h 1092502"/>
              <a:gd name="connsiteX89" fmla="*/ 2995431 w 6141505"/>
              <a:gd name="connsiteY89" fmla="*/ 780296 h 1092502"/>
              <a:gd name="connsiteX90" fmla="*/ 2995431 w 6141505"/>
              <a:gd name="connsiteY90" fmla="*/ 798199 h 1092502"/>
              <a:gd name="connsiteX91" fmla="*/ 3085381 w 6141505"/>
              <a:gd name="connsiteY91" fmla="*/ 798199 h 1092502"/>
              <a:gd name="connsiteX92" fmla="*/ 3085381 w 6141505"/>
              <a:gd name="connsiteY92" fmla="*/ 817848 h 1092502"/>
              <a:gd name="connsiteX93" fmla="*/ 3166598 w 6141505"/>
              <a:gd name="connsiteY93" fmla="*/ 817848 h 1092502"/>
              <a:gd name="connsiteX94" fmla="*/ 3166598 w 6141505"/>
              <a:gd name="connsiteY94" fmla="*/ 837498 h 1092502"/>
              <a:gd name="connsiteX95" fmla="*/ 3263535 w 6141505"/>
              <a:gd name="connsiteY95" fmla="*/ 837498 h 1092502"/>
              <a:gd name="connsiteX96" fmla="*/ 3263535 w 6141505"/>
              <a:gd name="connsiteY96" fmla="*/ 858020 h 1092502"/>
              <a:gd name="connsiteX97" fmla="*/ 3534695 w 6141505"/>
              <a:gd name="connsiteY97" fmla="*/ 858020 h 1092502"/>
              <a:gd name="connsiteX98" fmla="*/ 3534695 w 6141505"/>
              <a:gd name="connsiteY98" fmla="*/ 878980 h 1092502"/>
              <a:gd name="connsiteX99" fmla="*/ 3638619 w 6141505"/>
              <a:gd name="connsiteY99" fmla="*/ 878980 h 1092502"/>
              <a:gd name="connsiteX100" fmla="*/ 3638619 w 6141505"/>
              <a:gd name="connsiteY100" fmla="*/ 899066 h 1092502"/>
              <a:gd name="connsiteX101" fmla="*/ 3698440 w 6141505"/>
              <a:gd name="connsiteY101" fmla="*/ 899066 h 1092502"/>
              <a:gd name="connsiteX102" fmla="*/ 3698440 w 6141505"/>
              <a:gd name="connsiteY102" fmla="*/ 923081 h 1092502"/>
              <a:gd name="connsiteX103" fmla="*/ 3794503 w 6141505"/>
              <a:gd name="connsiteY103" fmla="*/ 923081 h 1092502"/>
              <a:gd name="connsiteX104" fmla="*/ 3794503 w 6141505"/>
              <a:gd name="connsiteY104" fmla="*/ 945351 h 1092502"/>
              <a:gd name="connsiteX105" fmla="*/ 3848648 w 6141505"/>
              <a:gd name="connsiteY105" fmla="*/ 945351 h 1092502"/>
              <a:gd name="connsiteX106" fmla="*/ 3848648 w 6141505"/>
              <a:gd name="connsiteY106" fmla="*/ 968493 h 1092502"/>
              <a:gd name="connsiteX107" fmla="*/ 3997110 w 6141505"/>
              <a:gd name="connsiteY107" fmla="*/ 968493 h 1092502"/>
              <a:gd name="connsiteX108" fmla="*/ 3997110 w 6141505"/>
              <a:gd name="connsiteY108" fmla="*/ 995566 h 1092502"/>
              <a:gd name="connsiteX109" fmla="*/ 4288793 w 6141505"/>
              <a:gd name="connsiteY109" fmla="*/ 995566 h 1092502"/>
              <a:gd name="connsiteX110" fmla="*/ 4288793 w 6141505"/>
              <a:gd name="connsiteY110" fmla="*/ 1026568 h 1092502"/>
              <a:gd name="connsiteX111" fmla="*/ 4308443 w 6141505"/>
              <a:gd name="connsiteY111" fmla="*/ 1026568 h 1092502"/>
              <a:gd name="connsiteX112" fmla="*/ 4308443 w 6141505"/>
              <a:gd name="connsiteY112" fmla="*/ 1055823 h 1092502"/>
              <a:gd name="connsiteX113" fmla="*/ 4639424 w 6141505"/>
              <a:gd name="connsiteY113" fmla="*/ 1055823 h 1092502"/>
              <a:gd name="connsiteX114" fmla="*/ 4639424 w 6141505"/>
              <a:gd name="connsiteY114" fmla="*/ 1092502 h 1092502"/>
              <a:gd name="connsiteX115" fmla="*/ 6141506 w 6141505"/>
              <a:gd name="connsiteY115" fmla="*/ 1092502 h 1092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6141505" h="1092502">
                <a:moveTo>
                  <a:pt x="0" y="0"/>
                </a:moveTo>
                <a:lnTo>
                  <a:pt x="81654" y="0"/>
                </a:lnTo>
                <a:lnTo>
                  <a:pt x="81654" y="16593"/>
                </a:lnTo>
                <a:lnTo>
                  <a:pt x="163744" y="16593"/>
                </a:lnTo>
                <a:lnTo>
                  <a:pt x="163744" y="31002"/>
                </a:lnTo>
                <a:lnTo>
                  <a:pt x="172914" y="31002"/>
                </a:lnTo>
                <a:lnTo>
                  <a:pt x="172914" y="62005"/>
                </a:lnTo>
                <a:lnTo>
                  <a:pt x="184704" y="62005"/>
                </a:lnTo>
                <a:lnTo>
                  <a:pt x="184704" y="77724"/>
                </a:lnTo>
                <a:lnTo>
                  <a:pt x="254568" y="77724"/>
                </a:lnTo>
                <a:lnTo>
                  <a:pt x="254568" y="94753"/>
                </a:lnTo>
                <a:lnTo>
                  <a:pt x="323996" y="94753"/>
                </a:lnTo>
                <a:lnTo>
                  <a:pt x="323996" y="110036"/>
                </a:lnTo>
                <a:lnTo>
                  <a:pt x="337532" y="110036"/>
                </a:lnTo>
                <a:lnTo>
                  <a:pt x="337532" y="124882"/>
                </a:lnTo>
                <a:lnTo>
                  <a:pt x="348448" y="124882"/>
                </a:lnTo>
                <a:lnTo>
                  <a:pt x="348448" y="142348"/>
                </a:lnTo>
                <a:lnTo>
                  <a:pt x="355871" y="142348"/>
                </a:lnTo>
                <a:lnTo>
                  <a:pt x="355871" y="155448"/>
                </a:lnTo>
                <a:lnTo>
                  <a:pt x="479007" y="155448"/>
                </a:lnTo>
                <a:lnTo>
                  <a:pt x="479007" y="169421"/>
                </a:lnTo>
                <a:lnTo>
                  <a:pt x="489923" y="169421"/>
                </a:lnTo>
                <a:lnTo>
                  <a:pt x="489923" y="186014"/>
                </a:lnTo>
                <a:lnTo>
                  <a:pt x="497783" y="186014"/>
                </a:lnTo>
                <a:lnTo>
                  <a:pt x="497783" y="201733"/>
                </a:lnTo>
                <a:lnTo>
                  <a:pt x="509136" y="201733"/>
                </a:lnTo>
                <a:lnTo>
                  <a:pt x="509136" y="217889"/>
                </a:lnTo>
                <a:lnTo>
                  <a:pt x="537955" y="217889"/>
                </a:lnTo>
                <a:lnTo>
                  <a:pt x="537955" y="233609"/>
                </a:lnTo>
                <a:lnTo>
                  <a:pt x="626159" y="233609"/>
                </a:lnTo>
                <a:lnTo>
                  <a:pt x="626159" y="248891"/>
                </a:lnTo>
                <a:lnTo>
                  <a:pt x="667640" y="248891"/>
                </a:lnTo>
                <a:lnTo>
                  <a:pt x="667640" y="281640"/>
                </a:lnTo>
                <a:lnTo>
                  <a:pt x="723095" y="281640"/>
                </a:lnTo>
                <a:lnTo>
                  <a:pt x="723095" y="296050"/>
                </a:lnTo>
                <a:lnTo>
                  <a:pt x="782480" y="296050"/>
                </a:lnTo>
                <a:lnTo>
                  <a:pt x="782480" y="312643"/>
                </a:lnTo>
                <a:lnTo>
                  <a:pt x="995129" y="312643"/>
                </a:lnTo>
                <a:lnTo>
                  <a:pt x="995129" y="330545"/>
                </a:lnTo>
                <a:lnTo>
                  <a:pt x="1001242" y="330545"/>
                </a:lnTo>
                <a:lnTo>
                  <a:pt x="1001242" y="376394"/>
                </a:lnTo>
                <a:lnTo>
                  <a:pt x="1007792" y="376394"/>
                </a:lnTo>
                <a:lnTo>
                  <a:pt x="1007792" y="390803"/>
                </a:lnTo>
                <a:lnTo>
                  <a:pt x="1124378" y="390803"/>
                </a:lnTo>
                <a:lnTo>
                  <a:pt x="1124378" y="407833"/>
                </a:lnTo>
                <a:lnTo>
                  <a:pt x="1167170" y="407833"/>
                </a:lnTo>
                <a:lnTo>
                  <a:pt x="1167170" y="423989"/>
                </a:lnTo>
                <a:lnTo>
                  <a:pt x="1277643" y="423989"/>
                </a:lnTo>
                <a:lnTo>
                  <a:pt x="1277643" y="440145"/>
                </a:lnTo>
                <a:lnTo>
                  <a:pt x="1289432" y="440145"/>
                </a:lnTo>
                <a:lnTo>
                  <a:pt x="1289432" y="456738"/>
                </a:lnTo>
                <a:lnTo>
                  <a:pt x="1474573" y="456738"/>
                </a:lnTo>
                <a:lnTo>
                  <a:pt x="1474573" y="472457"/>
                </a:lnTo>
                <a:lnTo>
                  <a:pt x="1490292" y="472457"/>
                </a:lnTo>
                <a:lnTo>
                  <a:pt x="1490292" y="488176"/>
                </a:lnTo>
                <a:lnTo>
                  <a:pt x="1650980" y="488176"/>
                </a:lnTo>
                <a:lnTo>
                  <a:pt x="1650980" y="505206"/>
                </a:lnTo>
                <a:lnTo>
                  <a:pt x="1686786" y="505206"/>
                </a:lnTo>
                <a:lnTo>
                  <a:pt x="1686786" y="520489"/>
                </a:lnTo>
                <a:lnTo>
                  <a:pt x="1821274" y="520489"/>
                </a:lnTo>
                <a:lnTo>
                  <a:pt x="1821274" y="537518"/>
                </a:lnTo>
                <a:lnTo>
                  <a:pt x="1840487" y="537518"/>
                </a:lnTo>
                <a:lnTo>
                  <a:pt x="1840487" y="554984"/>
                </a:lnTo>
                <a:lnTo>
                  <a:pt x="1906421" y="554984"/>
                </a:lnTo>
                <a:lnTo>
                  <a:pt x="1906421" y="572014"/>
                </a:lnTo>
                <a:lnTo>
                  <a:pt x="2002048" y="572014"/>
                </a:lnTo>
                <a:lnTo>
                  <a:pt x="2002048" y="587733"/>
                </a:lnTo>
                <a:lnTo>
                  <a:pt x="2028684" y="587733"/>
                </a:lnTo>
                <a:lnTo>
                  <a:pt x="2028684" y="602579"/>
                </a:lnTo>
                <a:lnTo>
                  <a:pt x="2070166" y="602579"/>
                </a:lnTo>
                <a:lnTo>
                  <a:pt x="2070166" y="619609"/>
                </a:lnTo>
                <a:lnTo>
                  <a:pt x="2120381" y="619609"/>
                </a:lnTo>
                <a:lnTo>
                  <a:pt x="2120381" y="636638"/>
                </a:lnTo>
                <a:lnTo>
                  <a:pt x="2248320" y="636638"/>
                </a:lnTo>
                <a:lnTo>
                  <a:pt x="2248320" y="653667"/>
                </a:lnTo>
                <a:lnTo>
                  <a:pt x="2411191" y="653667"/>
                </a:lnTo>
                <a:lnTo>
                  <a:pt x="2411191" y="669387"/>
                </a:lnTo>
                <a:lnTo>
                  <a:pt x="2421670" y="669387"/>
                </a:lnTo>
                <a:lnTo>
                  <a:pt x="2421670" y="688163"/>
                </a:lnTo>
                <a:lnTo>
                  <a:pt x="2504197" y="688163"/>
                </a:lnTo>
                <a:lnTo>
                  <a:pt x="2504197" y="707376"/>
                </a:lnTo>
                <a:lnTo>
                  <a:pt x="2508564" y="707376"/>
                </a:lnTo>
                <a:lnTo>
                  <a:pt x="2508564" y="725278"/>
                </a:lnTo>
                <a:lnTo>
                  <a:pt x="2515987" y="725278"/>
                </a:lnTo>
                <a:lnTo>
                  <a:pt x="2515987" y="741871"/>
                </a:lnTo>
                <a:lnTo>
                  <a:pt x="2698071" y="741871"/>
                </a:lnTo>
                <a:lnTo>
                  <a:pt x="2698071" y="759337"/>
                </a:lnTo>
                <a:lnTo>
                  <a:pt x="2743483" y="759337"/>
                </a:lnTo>
                <a:lnTo>
                  <a:pt x="2743483" y="780296"/>
                </a:lnTo>
                <a:lnTo>
                  <a:pt x="2995431" y="780296"/>
                </a:lnTo>
                <a:lnTo>
                  <a:pt x="2995431" y="798199"/>
                </a:lnTo>
                <a:lnTo>
                  <a:pt x="3085381" y="798199"/>
                </a:lnTo>
                <a:lnTo>
                  <a:pt x="3085381" y="817848"/>
                </a:lnTo>
                <a:lnTo>
                  <a:pt x="3166598" y="817848"/>
                </a:lnTo>
                <a:lnTo>
                  <a:pt x="3166598" y="837498"/>
                </a:lnTo>
                <a:lnTo>
                  <a:pt x="3263535" y="837498"/>
                </a:lnTo>
                <a:lnTo>
                  <a:pt x="3263535" y="858020"/>
                </a:lnTo>
                <a:lnTo>
                  <a:pt x="3534695" y="858020"/>
                </a:lnTo>
                <a:lnTo>
                  <a:pt x="3534695" y="878980"/>
                </a:lnTo>
                <a:lnTo>
                  <a:pt x="3638619" y="878980"/>
                </a:lnTo>
                <a:lnTo>
                  <a:pt x="3638619" y="899066"/>
                </a:lnTo>
                <a:lnTo>
                  <a:pt x="3698440" y="899066"/>
                </a:lnTo>
                <a:lnTo>
                  <a:pt x="3698440" y="923081"/>
                </a:lnTo>
                <a:lnTo>
                  <a:pt x="3794503" y="923081"/>
                </a:lnTo>
                <a:lnTo>
                  <a:pt x="3794503" y="945351"/>
                </a:lnTo>
                <a:lnTo>
                  <a:pt x="3848648" y="945351"/>
                </a:lnTo>
                <a:lnTo>
                  <a:pt x="3848648" y="968493"/>
                </a:lnTo>
                <a:lnTo>
                  <a:pt x="3997110" y="968493"/>
                </a:lnTo>
                <a:lnTo>
                  <a:pt x="3997110" y="995566"/>
                </a:lnTo>
                <a:lnTo>
                  <a:pt x="4288793" y="995566"/>
                </a:lnTo>
                <a:lnTo>
                  <a:pt x="4288793" y="1026568"/>
                </a:lnTo>
                <a:lnTo>
                  <a:pt x="4308443" y="1026568"/>
                </a:lnTo>
                <a:lnTo>
                  <a:pt x="4308443" y="1055823"/>
                </a:lnTo>
                <a:lnTo>
                  <a:pt x="4639424" y="1055823"/>
                </a:lnTo>
                <a:lnTo>
                  <a:pt x="4639424" y="1092502"/>
                </a:lnTo>
                <a:lnTo>
                  <a:pt x="6141506" y="1092502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DE68AAAD-79B4-215C-2D3E-4B8F39D25D57}"/>
              </a:ext>
            </a:extLst>
          </p:cNvPr>
          <p:cNvSpPr/>
          <p:nvPr/>
        </p:nvSpPr>
        <p:spPr>
          <a:xfrm>
            <a:off x="985898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14F241EC-4A06-F7EF-0A3B-2B60B02EC1BB}"/>
              </a:ext>
            </a:extLst>
          </p:cNvPr>
          <p:cNvSpPr/>
          <p:nvPr/>
        </p:nvSpPr>
        <p:spPr>
          <a:xfrm>
            <a:off x="9792942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Freeform 64">
            <a:extLst>
              <a:ext uri="{FF2B5EF4-FFF2-40B4-BE49-F238E27FC236}">
                <a16:creationId xmlns:a16="http://schemas.microsoft.com/office/drawing/2014/main" id="{6683EF3A-6A4F-03CC-A297-70A51127AB1D}"/>
              </a:ext>
            </a:extLst>
          </p:cNvPr>
          <p:cNvSpPr/>
          <p:nvPr/>
        </p:nvSpPr>
        <p:spPr>
          <a:xfrm>
            <a:off x="9707644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Freeform 65">
            <a:extLst>
              <a:ext uri="{FF2B5EF4-FFF2-40B4-BE49-F238E27FC236}">
                <a16:creationId xmlns:a16="http://schemas.microsoft.com/office/drawing/2014/main" id="{2CDACAD1-BC4A-E261-A4C5-E9CFE0AFAD13}"/>
              </a:ext>
            </a:extLst>
          </p:cNvPr>
          <p:cNvSpPr/>
          <p:nvPr/>
        </p:nvSpPr>
        <p:spPr>
          <a:xfrm>
            <a:off x="964215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Freeform 67">
            <a:extLst>
              <a:ext uri="{FF2B5EF4-FFF2-40B4-BE49-F238E27FC236}">
                <a16:creationId xmlns:a16="http://schemas.microsoft.com/office/drawing/2014/main" id="{9331FA1A-5668-E171-E62D-37D1379C8A90}"/>
              </a:ext>
            </a:extLst>
          </p:cNvPr>
          <p:cNvSpPr/>
          <p:nvPr/>
        </p:nvSpPr>
        <p:spPr>
          <a:xfrm>
            <a:off x="953814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Freeform 68">
            <a:extLst>
              <a:ext uri="{FF2B5EF4-FFF2-40B4-BE49-F238E27FC236}">
                <a16:creationId xmlns:a16="http://schemas.microsoft.com/office/drawing/2014/main" id="{F674C680-DAFC-3DA7-C60D-592307A20860}"/>
              </a:ext>
            </a:extLst>
          </p:cNvPr>
          <p:cNvSpPr/>
          <p:nvPr/>
        </p:nvSpPr>
        <p:spPr>
          <a:xfrm>
            <a:off x="947266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Freeform 70">
            <a:extLst>
              <a:ext uri="{FF2B5EF4-FFF2-40B4-BE49-F238E27FC236}">
                <a16:creationId xmlns:a16="http://schemas.microsoft.com/office/drawing/2014/main" id="{207A93C5-F75B-AD5E-6DF4-6CCD8146BBA5}"/>
              </a:ext>
            </a:extLst>
          </p:cNvPr>
          <p:cNvSpPr/>
          <p:nvPr/>
        </p:nvSpPr>
        <p:spPr>
          <a:xfrm>
            <a:off x="9450648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Freeform 71">
            <a:extLst>
              <a:ext uri="{FF2B5EF4-FFF2-40B4-BE49-F238E27FC236}">
                <a16:creationId xmlns:a16="http://schemas.microsoft.com/office/drawing/2014/main" id="{A5912688-7571-F52D-DC67-68C87C0723D6}"/>
              </a:ext>
            </a:extLst>
          </p:cNvPr>
          <p:cNvSpPr/>
          <p:nvPr/>
        </p:nvSpPr>
        <p:spPr>
          <a:xfrm>
            <a:off x="9384609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Freeform 73">
            <a:extLst>
              <a:ext uri="{FF2B5EF4-FFF2-40B4-BE49-F238E27FC236}">
                <a16:creationId xmlns:a16="http://schemas.microsoft.com/office/drawing/2014/main" id="{9DE48083-999A-8F65-2D0A-23DC2B5BB090}"/>
              </a:ext>
            </a:extLst>
          </p:cNvPr>
          <p:cNvSpPr/>
          <p:nvPr/>
        </p:nvSpPr>
        <p:spPr>
          <a:xfrm>
            <a:off x="924318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Freeform 74">
            <a:extLst>
              <a:ext uri="{FF2B5EF4-FFF2-40B4-BE49-F238E27FC236}">
                <a16:creationId xmlns:a16="http://schemas.microsoft.com/office/drawing/2014/main" id="{1AAA0220-AF39-F56D-38D6-42E2CA7A5F36}"/>
              </a:ext>
            </a:extLst>
          </p:cNvPr>
          <p:cNvSpPr/>
          <p:nvPr/>
        </p:nvSpPr>
        <p:spPr>
          <a:xfrm>
            <a:off x="9177692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Freeform 76">
            <a:extLst>
              <a:ext uri="{FF2B5EF4-FFF2-40B4-BE49-F238E27FC236}">
                <a16:creationId xmlns:a16="http://schemas.microsoft.com/office/drawing/2014/main" id="{37DFC302-3440-84A0-BC5B-00F4E86E88A5}"/>
              </a:ext>
            </a:extLst>
          </p:cNvPr>
          <p:cNvSpPr/>
          <p:nvPr/>
        </p:nvSpPr>
        <p:spPr>
          <a:xfrm>
            <a:off x="923162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Freeform 77">
            <a:extLst>
              <a:ext uri="{FF2B5EF4-FFF2-40B4-BE49-F238E27FC236}">
                <a16:creationId xmlns:a16="http://schemas.microsoft.com/office/drawing/2014/main" id="{9283E07A-2B8E-9F58-5BE7-F3F32B42D08F}"/>
              </a:ext>
            </a:extLst>
          </p:cNvPr>
          <p:cNvSpPr/>
          <p:nvPr/>
        </p:nvSpPr>
        <p:spPr>
          <a:xfrm>
            <a:off x="916613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Freeform 79">
            <a:extLst>
              <a:ext uri="{FF2B5EF4-FFF2-40B4-BE49-F238E27FC236}">
                <a16:creationId xmlns:a16="http://schemas.microsoft.com/office/drawing/2014/main" id="{5E6F7268-4AE0-5064-DBF7-AB5932AEC63D}"/>
              </a:ext>
            </a:extLst>
          </p:cNvPr>
          <p:cNvSpPr/>
          <p:nvPr/>
        </p:nvSpPr>
        <p:spPr>
          <a:xfrm>
            <a:off x="9087441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Freeform 80">
            <a:extLst>
              <a:ext uri="{FF2B5EF4-FFF2-40B4-BE49-F238E27FC236}">
                <a16:creationId xmlns:a16="http://schemas.microsoft.com/office/drawing/2014/main" id="{DC1765E4-7818-1D09-7107-2B8E5A435026}"/>
              </a:ext>
            </a:extLst>
          </p:cNvPr>
          <p:cNvSpPr/>
          <p:nvPr/>
        </p:nvSpPr>
        <p:spPr>
          <a:xfrm>
            <a:off x="9021403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Freeform 82">
            <a:extLst>
              <a:ext uri="{FF2B5EF4-FFF2-40B4-BE49-F238E27FC236}">
                <a16:creationId xmlns:a16="http://schemas.microsoft.com/office/drawing/2014/main" id="{D7117626-8610-1E50-0EAF-B0A304E3CE56}"/>
              </a:ext>
            </a:extLst>
          </p:cNvPr>
          <p:cNvSpPr/>
          <p:nvPr/>
        </p:nvSpPr>
        <p:spPr>
          <a:xfrm>
            <a:off x="9040115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Freeform 83">
            <a:extLst>
              <a:ext uri="{FF2B5EF4-FFF2-40B4-BE49-F238E27FC236}">
                <a16:creationId xmlns:a16="http://schemas.microsoft.com/office/drawing/2014/main" id="{3E2BC393-AF48-03A2-3AB4-92B5202D7EFD}"/>
              </a:ext>
            </a:extLst>
          </p:cNvPr>
          <p:cNvSpPr/>
          <p:nvPr/>
        </p:nvSpPr>
        <p:spPr>
          <a:xfrm>
            <a:off x="8974627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Freeform 85">
            <a:extLst>
              <a:ext uri="{FF2B5EF4-FFF2-40B4-BE49-F238E27FC236}">
                <a16:creationId xmlns:a16="http://schemas.microsoft.com/office/drawing/2014/main" id="{E9C9E127-1149-7ACC-F395-05F2486B6840}"/>
              </a:ext>
            </a:extLst>
          </p:cNvPr>
          <p:cNvSpPr/>
          <p:nvPr/>
        </p:nvSpPr>
        <p:spPr>
          <a:xfrm>
            <a:off x="9036262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Freeform 86">
            <a:extLst>
              <a:ext uri="{FF2B5EF4-FFF2-40B4-BE49-F238E27FC236}">
                <a16:creationId xmlns:a16="http://schemas.microsoft.com/office/drawing/2014/main" id="{729CAAF8-B6C8-524D-CB64-A8C4A5765C80}"/>
              </a:ext>
            </a:extLst>
          </p:cNvPr>
          <p:cNvSpPr/>
          <p:nvPr/>
        </p:nvSpPr>
        <p:spPr>
          <a:xfrm>
            <a:off x="8970225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Freeform 88">
            <a:extLst>
              <a:ext uri="{FF2B5EF4-FFF2-40B4-BE49-F238E27FC236}">
                <a16:creationId xmlns:a16="http://schemas.microsoft.com/office/drawing/2014/main" id="{F03A9D89-8388-FF4A-3B9D-5B1619D3165A}"/>
              </a:ext>
            </a:extLst>
          </p:cNvPr>
          <p:cNvSpPr/>
          <p:nvPr/>
        </p:nvSpPr>
        <p:spPr>
          <a:xfrm>
            <a:off x="901094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Freeform 89">
            <a:extLst>
              <a:ext uri="{FF2B5EF4-FFF2-40B4-BE49-F238E27FC236}">
                <a16:creationId xmlns:a16="http://schemas.microsoft.com/office/drawing/2014/main" id="{E2F070C6-D0F0-537E-7DF4-C7AC553E0549}"/>
              </a:ext>
            </a:extLst>
          </p:cNvPr>
          <p:cNvSpPr/>
          <p:nvPr/>
        </p:nvSpPr>
        <p:spPr>
          <a:xfrm>
            <a:off x="894546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Freeform 91">
            <a:extLst>
              <a:ext uri="{FF2B5EF4-FFF2-40B4-BE49-F238E27FC236}">
                <a16:creationId xmlns:a16="http://schemas.microsoft.com/office/drawing/2014/main" id="{134ACBB9-E4B3-B40A-A9A0-1735127E6BFB}"/>
              </a:ext>
            </a:extLst>
          </p:cNvPr>
          <p:cNvSpPr/>
          <p:nvPr/>
        </p:nvSpPr>
        <p:spPr>
          <a:xfrm>
            <a:off x="898673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Freeform 92">
            <a:extLst>
              <a:ext uri="{FF2B5EF4-FFF2-40B4-BE49-F238E27FC236}">
                <a16:creationId xmlns:a16="http://schemas.microsoft.com/office/drawing/2014/main" id="{050BB8A4-34A7-5FDF-24F9-340E6D467A70}"/>
              </a:ext>
            </a:extLst>
          </p:cNvPr>
          <p:cNvSpPr/>
          <p:nvPr/>
        </p:nvSpPr>
        <p:spPr>
          <a:xfrm>
            <a:off x="8920696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Freeform 94">
            <a:extLst>
              <a:ext uri="{FF2B5EF4-FFF2-40B4-BE49-F238E27FC236}">
                <a16:creationId xmlns:a16="http://schemas.microsoft.com/office/drawing/2014/main" id="{29E2676B-7DBA-0E1D-2B30-BCF0547057BC}"/>
              </a:ext>
            </a:extLst>
          </p:cNvPr>
          <p:cNvSpPr/>
          <p:nvPr/>
        </p:nvSpPr>
        <p:spPr>
          <a:xfrm>
            <a:off x="8790272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Freeform 95">
            <a:extLst>
              <a:ext uri="{FF2B5EF4-FFF2-40B4-BE49-F238E27FC236}">
                <a16:creationId xmlns:a16="http://schemas.microsoft.com/office/drawing/2014/main" id="{A23CF8C6-9097-13D1-40CF-DDED9D4AF05B}"/>
              </a:ext>
            </a:extLst>
          </p:cNvPr>
          <p:cNvSpPr/>
          <p:nvPr/>
        </p:nvSpPr>
        <p:spPr>
          <a:xfrm>
            <a:off x="8724784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Freeform 97">
            <a:extLst>
              <a:ext uri="{FF2B5EF4-FFF2-40B4-BE49-F238E27FC236}">
                <a16:creationId xmlns:a16="http://schemas.microsoft.com/office/drawing/2014/main" id="{A9962FE8-A2E7-6A31-97CA-1AC4EF9F9947}"/>
              </a:ext>
            </a:extLst>
          </p:cNvPr>
          <p:cNvSpPr/>
          <p:nvPr/>
        </p:nvSpPr>
        <p:spPr>
          <a:xfrm>
            <a:off x="8796325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Freeform 98">
            <a:extLst>
              <a:ext uri="{FF2B5EF4-FFF2-40B4-BE49-F238E27FC236}">
                <a16:creationId xmlns:a16="http://schemas.microsoft.com/office/drawing/2014/main" id="{3E781341-7E27-CE0C-DEBB-B3C43F58741A}"/>
              </a:ext>
            </a:extLst>
          </p:cNvPr>
          <p:cNvSpPr/>
          <p:nvPr/>
        </p:nvSpPr>
        <p:spPr>
          <a:xfrm>
            <a:off x="8730838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Freeform 100">
            <a:extLst>
              <a:ext uri="{FF2B5EF4-FFF2-40B4-BE49-F238E27FC236}">
                <a16:creationId xmlns:a16="http://schemas.microsoft.com/office/drawing/2014/main" id="{DE8BB52A-B6DA-575C-D4F5-6718A16511A3}"/>
              </a:ext>
            </a:extLst>
          </p:cNvPr>
          <p:cNvSpPr/>
          <p:nvPr/>
        </p:nvSpPr>
        <p:spPr>
          <a:xfrm>
            <a:off x="874789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Freeform 101">
            <a:extLst>
              <a:ext uri="{FF2B5EF4-FFF2-40B4-BE49-F238E27FC236}">
                <a16:creationId xmlns:a16="http://schemas.microsoft.com/office/drawing/2014/main" id="{55EA9801-43A0-49FB-6C00-18AE48FAEDEE}"/>
              </a:ext>
            </a:extLst>
          </p:cNvPr>
          <p:cNvSpPr/>
          <p:nvPr/>
        </p:nvSpPr>
        <p:spPr>
          <a:xfrm>
            <a:off x="868186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Freeform 103">
            <a:extLst>
              <a:ext uri="{FF2B5EF4-FFF2-40B4-BE49-F238E27FC236}">
                <a16:creationId xmlns:a16="http://schemas.microsoft.com/office/drawing/2014/main" id="{477FAA60-BEAA-D015-8A91-D109B3BB1EBC}"/>
              </a:ext>
            </a:extLst>
          </p:cNvPr>
          <p:cNvSpPr/>
          <p:nvPr/>
        </p:nvSpPr>
        <p:spPr>
          <a:xfrm>
            <a:off x="8662049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Freeform 104">
            <a:extLst>
              <a:ext uri="{FF2B5EF4-FFF2-40B4-BE49-F238E27FC236}">
                <a16:creationId xmlns:a16="http://schemas.microsoft.com/office/drawing/2014/main" id="{AEB9A48E-722A-245A-4F7C-154D9E0228A4}"/>
              </a:ext>
            </a:extLst>
          </p:cNvPr>
          <p:cNvSpPr/>
          <p:nvPr/>
        </p:nvSpPr>
        <p:spPr>
          <a:xfrm>
            <a:off x="8596012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Freeform 106">
            <a:extLst>
              <a:ext uri="{FF2B5EF4-FFF2-40B4-BE49-F238E27FC236}">
                <a16:creationId xmlns:a16="http://schemas.microsoft.com/office/drawing/2014/main" id="{BA15766B-FCEF-4D0C-8182-BF282D00CF16}"/>
              </a:ext>
            </a:extLst>
          </p:cNvPr>
          <p:cNvSpPr/>
          <p:nvPr/>
        </p:nvSpPr>
        <p:spPr>
          <a:xfrm>
            <a:off x="8631782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5" name="Freeform 107">
            <a:extLst>
              <a:ext uri="{FF2B5EF4-FFF2-40B4-BE49-F238E27FC236}">
                <a16:creationId xmlns:a16="http://schemas.microsoft.com/office/drawing/2014/main" id="{30E63C7E-6058-6A7B-09E2-3FFBF2D6D16D}"/>
              </a:ext>
            </a:extLst>
          </p:cNvPr>
          <p:cNvSpPr/>
          <p:nvPr/>
        </p:nvSpPr>
        <p:spPr>
          <a:xfrm>
            <a:off x="8566294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Freeform 109">
            <a:extLst>
              <a:ext uri="{FF2B5EF4-FFF2-40B4-BE49-F238E27FC236}">
                <a16:creationId xmlns:a16="http://schemas.microsoft.com/office/drawing/2014/main" id="{02A55850-1E5E-A377-E058-A15210CCB264}"/>
              </a:ext>
            </a:extLst>
          </p:cNvPr>
          <p:cNvSpPr/>
          <p:nvPr/>
        </p:nvSpPr>
        <p:spPr>
          <a:xfrm>
            <a:off x="860646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Freeform 110">
            <a:extLst>
              <a:ext uri="{FF2B5EF4-FFF2-40B4-BE49-F238E27FC236}">
                <a16:creationId xmlns:a16="http://schemas.microsoft.com/office/drawing/2014/main" id="{F48A360F-D7E4-E1DC-AE0E-645A32A80776}"/>
              </a:ext>
            </a:extLst>
          </p:cNvPr>
          <p:cNvSpPr/>
          <p:nvPr/>
        </p:nvSpPr>
        <p:spPr>
          <a:xfrm>
            <a:off x="854043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8" name="Freeform 112">
            <a:extLst>
              <a:ext uri="{FF2B5EF4-FFF2-40B4-BE49-F238E27FC236}">
                <a16:creationId xmlns:a16="http://schemas.microsoft.com/office/drawing/2014/main" id="{30F1E025-9A56-A9DF-4E71-1E885911CAEE}"/>
              </a:ext>
            </a:extLst>
          </p:cNvPr>
          <p:cNvSpPr/>
          <p:nvPr/>
        </p:nvSpPr>
        <p:spPr>
          <a:xfrm>
            <a:off x="8602614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9" name="Freeform 113">
            <a:extLst>
              <a:ext uri="{FF2B5EF4-FFF2-40B4-BE49-F238E27FC236}">
                <a16:creationId xmlns:a16="http://schemas.microsoft.com/office/drawing/2014/main" id="{6A9020EC-9B0D-025F-95D6-3E7E5F6C26C7}"/>
              </a:ext>
            </a:extLst>
          </p:cNvPr>
          <p:cNvSpPr/>
          <p:nvPr/>
        </p:nvSpPr>
        <p:spPr>
          <a:xfrm>
            <a:off x="8537128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Freeform 115">
            <a:extLst>
              <a:ext uri="{FF2B5EF4-FFF2-40B4-BE49-F238E27FC236}">
                <a16:creationId xmlns:a16="http://schemas.microsoft.com/office/drawing/2014/main" id="{EA44B080-8D3D-A58B-6B64-C630BE982B2C}"/>
              </a:ext>
            </a:extLst>
          </p:cNvPr>
          <p:cNvSpPr/>
          <p:nvPr/>
        </p:nvSpPr>
        <p:spPr>
          <a:xfrm>
            <a:off x="833626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Freeform 116">
            <a:extLst>
              <a:ext uri="{FF2B5EF4-FFF2-40B4-BE49-F238E27FC236}">
                <a16:creationId xmlns:a16="http://schemas.microsoft.com/office/drawing/2014/main" id="{29197599-19AC-EBF8-368E-086DAE5A69DF}"/>
              </a:ext>
            </a:extLst>
          </p:cNvPr>
          <p:cNvSpPr/>
          <p:nvPr/>
        </p:nvSpPr>
        <p:spPr>
          <a:xfrm>
            <a:off x="827077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Freeform 118">
            <a:extLst>
              <a:ext uri="{FF2B5EF4-FFF2-40B4-BE49-F238E27FC236}">
                <a16:creationId xmlns:a16="http://schemas.microsoft.com/office/drawing/2014/main" id="{18CB4E91-F9E1-3000-0492-CC89261D2C17}"/>
              </a:ext>
            </a:extLst>
          </p:cNvPr>
          <p:cNvSpPr/>
          <p:nvPr/>
        </p:nvSpPr>
        <p:spPr>
          <a:xfrm>
            <a:off x="8257569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Freeform 119">
            <a:extLst>
              <a:ext uri="{FF2B5EF4-FFF2-40B4-BE49-F238E27FC236}">
                <a16:creationId xmlns:a16="http://schemas.microsoft.com/office/drawing/2014/main" id="{974B717F-60C4-EF11-B7DD-AB6C01D784B7}"/>
              </a:ext>
            </a:extLst>
          </p:cNvPr>
          <p:cNvSpPr/>
          <p:nvPr/>
        </p:nvSpPr>
        <p:spPr>
          <a:xfrm>
            <a:off x="8192081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Freeform 121">
            <a:extLst>
              <a:ext uri="{FF2B5EF4-FFF2-40B4-BE49-F238E27FC236}">
                <a16:creationId xmlns:a16="http://schemas.microsoft.com/office/drawing/2014/main" id="{F1180DD3-69A6-A07B-37F7-9752FC7C33BF}"/>
              </a:ext>
            </a:extLst>
          </p:cNvPr>
          <p:cNvSpPr/>
          <p:nvPr/>
        </p:nvSpPr>
        <p:spPr>
          <a:xfrm>
            <a:off x="8215195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Freeform 122">
            <a:extLst>
              <a:ext uri="{FF2B5EF4-FFF2-40B4-BE49-F238E27FC236}">
                <a16:creationId xmlns:a16="http://schemas.microsoft.com/office/drawing/2014/main" id="{B905B91F-DC67-DC21-5477-0291688BEE2B}"/>
              </a:ext>
            </a:extLst>
          </p:cNvPr>
          <p:cNvSpPr/>
          <p:nvPr/>
        </p:nvSpPr>
        <p:spPr>
          <a:xfrm>
            <a:off x="814915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Freeform 124">
            <a:extLst>
              <a:ext uri="{FF2B5EF4-FFF2-40B4-BE49-F238E27FC236}">
                <a16:creationId xmlns:a16="http://schemas.microsoft.com/office/drawing/2014/main" id="{3EE3AB74-782A-8CBD-21A2-C7AED9AA97BD}"/>
              </a:ext>
            </a:extLst>
          </p:cNvPr>
          <p:cNvSpPr/>
          <p:nvPr/>
        </p:nvSpPr>
        <p:spPr>
          <a:xfrm>
            <a:off x="818823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Freeform 125">
            <a:extLst>
              <a:ext uri="{FF2B5EF4-FFF2-40B4-BE49-F238E27FC236}">
                <a16:creationId xmlns:a16="http://schemas.microsoft.com/office/drawing/2014/main" id="{053AE09A-243A-C2AC-FE92-0572A500C866}"/>
              </a:ext>
            </a:extLst>
          </p:cNvPr>
          <p:cNvSpPr/>
          <p:nvPr/>
        </p:nvSpPr>
        <p:spPr>
          <a:xfrm>
            <a:off x="8122192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" name="Freeform 127">
            <a:extLst>
              <a:ext uri="{FF2B5EF4-FFF2-40B4-BE49-F238E27FC236}">
                <a16:creationId xmlns:a16="http://schemas.microsoft.com/office/drawing/2014/main" id="{8A3F498A-6F1E-7958-5866-6BB5EBA80CD4}"/>
              </a:ext>
            </a:extLst>
          </p:cNvPr>
          <p:cNvSpPr/>
          <p:nvPr/>
        </p:nvSpPr>
        <p:spPr>
          <a:xfrm>
            <a:off x="816621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" name="Freeform 128">
            <a:extLst>
              <a:ext uri="{FF2B5EF4-FFF2-40B4-BE49-F238E27FC236}">
                <a16:creationId xmlns:a16="http://schemas.microsoft.com/office/drawing/2014/main" id="{D518A535-47BA-8E83-1E67-C5682043792D}"/>
              </a:ext>
            </a:extLst>
          </p:cNvPr>
          <p:cNvSpPr/>
          <p:nvPr/>
        </p:nvSpPr>
        <p:spPr>
          <a:xfrm>
            <a:off x="8100729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" name="Freeform 130">
            <a:extLst>
              <a:ext uri="{FF2B5EF4-FFF2-40B4-BE49-F238E27FC236}">
                <a16:creationId xmlns:a16="http://schemas.microsoft.com/office/drawing/2014/main" id="{E37611AA-9BD8-27E6-129B-0B99F651A096}"/>
              </a:ext>
            </a:extLst>
          </p:cNvPr>
          <p:cNvSpPr/>
          <p:nvPr/>
        </p:nvSpPr>
        <p:spPr>
          <a:xfrm>
            <a:off x="8134849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Freeform 131">
            <a:extLst>
              <a:ext uri="{FF2B5EF4-FFF2-40B4-BE49-F238E27FC236}">
                <a16:creationId xmlns:a16="http://schemas.microsoft.com/office/drawing/2014/main" id="{7E6B8CC8-FB46-FBCA-89A2-B175C63A5236}"/>
              </a:ext>
            </a:extLst>
          </p:cNvPr>
          <p:cNvSpPr/>
          <p:nvPr/>
        </p:nvSpPr>
        <p:spPr>
          <a:xfrm>
            <a:off x="8068811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" name="Freeform 133">
            <a:extLst>
              <a:ext uri="{FF2B5EF4-FFF2-40B4-BE49-F238E27FC236}">
                <a16:creationId xmlns:a16="http://schemas.microsoft.com/office/drawing/2014/main" id="{D82178D5-B1C5-FF3E-BF49-34B2FBB8CCC6}"/>
              </a:ext>
            </a:extLst>
          </p:cNvPr>
          <p:cNvSpPr/>
          <p:nvPr/>
        </p:nvSpPr>
        <p:spPr>
          <a:xfrm>
            <a:off x="799617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" name="Freeform 134">
            <a:extLst>
              <a:ext uri="{FF2B5EF4-FFF2-40B4-BE49-F238E27FC236}">
                <a16:creationId xmlns:a16="http://schemas.microsoft.com/office/drawing/2014/main" id="{6A6CC605-E304-5650-8C5D-56D0E04215F6}"/>
              </a:ext>
            </a:extLst>
          </p:cNvPr>
          <p:cNvSpPr/>
          <p:nvPr/>
        </p:nvSpPr>
        <p:spPr>
          <a:xfrm>
            <a:off x="7930683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Freeform 136">
            <a:extLst>
              <a:ext uri="{FF2B5EF4-FFF2-40B4-BE49-F238E27FC236}">
                <a16:creationId xmlns:a16="http://schemas.microsoft.com/office/drawing/2014/main" id="{D902E721-717C-9C68-E0CC-43641B48A84E}"/>
              </a:ext>
            </a:extLst>
          </p:cNvPr>
          <p:cNvSpPr/>
          <p:nvPr/>
        </p:nvSpPr>
        <p:spPr>
          <a:xfrm>
            <a:off x="801763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" name="Freeform 137">
            <a:extLst>
              <a:ext uri="{FF2B5EF4-FFF2-40B4-BE49-F238E27FC236}">
                <a16:creationId xmlns:a16="http://schemas.microsoft.com/office/drawing/2014/main" id="{A68C664D-199A-B6D8-0DAF-F2ACD5E6C355}"/>
              </a:ext>
            </a:extLst>
          </p:cNvPr>
          <p:cNvSpPr/>
          <p:nvPr/>
        </p:nvSpPr>
        <p:spPr>
          <a:xfrm>
            <a:off x="7951594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Freeform 139">
            <a:extLst>
              <a:ext uri="{FF2B5EF4-FFF2-40B4-BE49-F238E27FC236}">
                <a16:creationId xmlns:a16="http://schemas.microsoft.com/office/drawing/2014/main" id="{55226F5B-1AEB-8EC5-C735-2D8BC12A32D6}"/>
              </a:ext>
            </a:extLst>
          </p:cNvPr>
          <p:cNvSpPr/>
          <p:nvPr/>
        </p:nvSpPr>
        <p:spPr>
          <a:xfrm>
            <a:off x="7846485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Freeform 140">
            <a:extLst>
              <a:ext uri="{FF2B5EF4-FFF2-40B4-BE49-F238E27FC236}">
                <a16:creationId xmlns:a16="http://schemas.microsoft.com/office/drawing/2014/main" id="{0718758C-95CE-2DE2-F57F-4163A7AFA17F}"/>
              </a:ext>
            </a:extLst>
          </p:cNvPr>
          <p:cNvSpPr/>
          <p:nvPr/>
        </p:nvSpPr>
        <p:spPr>
          <a:xfrm>
            <a:off x="7780447" y="245075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Freeform 142">
            <a:extLst>
              <a:ext uri="{FF2B5EF4-FFF2-40B4-BE49-F238E27FC236}">
                <a16:creationId xmlns:a16="http://schemas.microsoft.com/office/drawing/2014/main" id="{91C0A6E0-1C10-5ABF-85A9-3F08C1884CC3}"/>
              </a:ext>
            </a:extLst>
          </p:cNvPr>
          <p:cNvSpPr/>
          <p:nvPr/>
        </p:nvSpPr>
        <p:spPr>
          <a:xfrm>
            <a:off x="7814566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Freeform 143">
            <a:extLst>
              <a:ext uri="{FF2B5EF4-FFF2-40B4-BE49-F238E27FC236}">
                <a16:creationId xmlns:a16="http://schemas.microsoft.com/office/drawing/2014/main" id="{A998FD56-F937-C48E-9827-C6F36D311900}"/>
              </a:ext>
            </a:extLst>
          </p:cNvPr>
          <p:cNvSpPr/>
          <p:nvPr/>
        </p:nvSpPr>
        <p:spPr>
          <a:xfrm>
            <a:off x="7748529" y="245075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Freeform 145">
            <a:extLst>
              <a:ext uri="{FF2B5EF4-FFF2-40B4-BE49-F238E27FC236}">
                <a16:creationId xmlns:a16="http://schemas.microsoft.com/office/drawing/2014/main" id="{F2AE1C3B-3D3F-769D-973B-90388F2EC586}"/>
              </a:ext>
            </a:extLst>
          </p:cNvPr>
          <p:cNvSpPr/>
          <p:nvPr/>
        </p:nvSpPr>
        <p:spPr>
          <a:xfrm>
            <a:off x="7765039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Freeform 146">
            <a:extLst>
              <a:ext uri="{FF2B5EF4-FFF2-40B4-BE49-F238E27FC236}">
                <a16:creationId xmlns:a16="http://schemas.microsoft.com/office/drawing/2014/main" id="{D4072ADC-9FE9-0CD3-C64C-9D7284FB6A27}"/>
              </a:ext>
            </a:extLst>
          </p:cNvPr>
          <p:cNvSpPr/>
          <p:nvPr/>
        </p:nvSpPr>
        <p:spPr>
          <a:xfrm>
            <a:off x="7699551" y="245075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" name="Freeform 148">
            <a:extLst>
              <a:ext uri="{FF2B5EF4-FFF2-40B4-BE49-F238E27FC236}">
                <a16:creationId xmlns:a16="http://schemas.microsoft.com/office/drawing/2014/main" id="{F7BC541B-90C2-6C6C-B74C-A3860B978C5C}"/>
              </a:ext>
            </a:extLst>
          </p:cNvPr>
          <p:cNvSpPr/>
          <p:nvPr/>
        </p:nvSpPr>
        <p:spPr>
          <a:xfrm>
            <a:off x="7574630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Freeform 149">
            <a:extLst>
              <a:ext uri="{FF2B5EF4-FFF2-40B4-BE49-F238E27FC236}">
                <a16:creationId xmlns:a16="http://schemas.microsoft.com/office/drawing/2014/main" id="{6654BA42-D6CD-2F11-2C83-7F948BE94910}"/>
              </a:ext>
            </a:extLst>
          </p:cNvPr>
          <p:cNvSpPr/>
          <p:nvPr/>
        </p:nvSpPr>
        <p:spPr>
          <a:xfrm>
            <a:off x="7508593" y="245075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Freeform 151">
            <a:extLst>
              <a:ext uri="{FF2B5EF4-FFF2-40B4-BE49-F238E27FC236}">
                <a16:creationId xmlns:a16="http://schemas.microsoft.com/office/drawing/2014/main" id="{C9283FA6-3434-2273-4B0C-59B3832C1C1B}"/>
              </a:ext>
            </a:extLst>
          </p:cNvPr>
          <p:cNvSpPr/>
          <p:nvPr/>
        </p:nvSpPr>
        <p:spPr>
          <a:xfrm>
            <a:off x="7522901" y="236225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" name="Freeform 152">
            <a:extLst>
              <a:ext uri="{FF2B5EF4-FFF2-40B4-BE49-F238E27FC236}">
                <a16:creationId xmlns:a16="http://schemas.microsoft.com/office/drawing/2014/main" id="{454ABA87-0E19-8306-5F69-80FE344F5D8E}"/>
              </a:ext>
            </a:extLst>
          </p:cNvPr>
          <p:cNvSpPr/>
          <p:nvPr/>
        </p:nvSpPr>
        <p:spPr>
          <a:xfrm>
            <a:off x="7456864" y="241904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Freeform 154">
            <a:extLst>
              <a:ext uri="{FF2B5EF4-FFF2-40B4-BE49-F238E27FC236}">
                <a16:creationId xmlns:a16="http://schemas.microsoft.com/office/drawing/2014/main" id="{5DBB4C5D-652E-30F1-DBBE-103E9CC5516C}"/>
              </a:ext>
            </a:extLst>
          </p:cNvPr>
          <p:cNvSpPr/>
          <p:nvPr/>
        </p:nvSpPr>
        <p:spPr>
          <a:xfrm>
            <a:off x="7411737" y="236225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" name="Freeform 155">
            <a:extLst>
              <a:ext uri="{FF2B5EF4-FFF2-40B4-BE49-F238E27FC236}">
                <a16:creationId xmlns:a16="http://schemas.microsoft.com/office/drawing/2014/main" id="{1A575307-B1D4-5946-A778-63B0B0521E98}"/>
              </a:ext>
            </a:extLst>
          </p:cNvPr>
          <p:cNvSpPr/>
          <p:nvPr/>
        </p:nvSpPr>
        <p:spPr>
          <a:xfrm>
            <a:off x="7345700" y="2419048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" name="Freeform 157">
            <a:extLst>
              <a:ext uri="{FF2B5EF4-FFF2-40B4-BE49-F238E27FC236}">
                <a16:creationId xmlns:a16="http://schemas.microsoft.com/office/drawing/2014/main" id="{00FF94FD-8F70-A7BE-AFFC-043C154E3007}"/>
              </a:ext>
            </a:extLst>
          </p:cNvPr>
          <p:cNvSpPr/>
          <p:nvPr/>
        </p:nvSpPr>
        <p:spPr>
          <a:xfrm>
            <a:off x="7401831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" name="Freeform 158">
            <a:extLst>
              <a:ext uri="{FF2B5EF4-FFF2-40B4-BE49-F238E27FC236}">
                <a16:creationId xmlns:a16="http://schemas.microsoft.com/office/drawing/2014/main" id="{86ACFBCD-187F-C475-8918-E0EE8F1FC899}"/>
              </a:ext>
            </a:extLst>
          </p:cNvPr>
          <p:cNvSpPr/>
          <p:nvPr/>
        </p:nvSpPr>
        <p:spPr>
          <a:xfrm>
            <a:off x="7336345" y="238544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" name="Freeform 160">
            <a:extLst>
              <a:ext uri="{FF2B5EF4-FFF2-40B4-BE49-F238E27FC236}">
                <a16:creationId xmlns:a16="http://schemas.microsoft.com/office/drawing/2014/main" id="{E7E9213E-C1BD-5CC1-95F1-A8A11CEFA5B9}"/>
              </a:ext>
            </a:extLst>
          </p:cNvPr>
          <p:cNvSpPr/>
          <p:nvPr/>
        </p:nvSpPr>
        <p:spPr>
          <a:xfrm>
            <a:off x="7373765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" name="Freeform 161">
            <a:extLst>
              <a:ext uri="{FF2B5EF4-FFF2-40B4-BE49-F238E27FC236}">
                <a16:creationId xmlns:a16="http://schemas.microsoft.com/office/drawing/2014/main" id="{48B0B9C8-A3AE-6138-768C-EF1C38BB60BF}"/>
              </a:ext>
            </a:extLst>
          </p:cNvPr>
          <p:cNvSpPr/>
          <p:nvPr/>
        </p:nvSpPr>
        <p:spPr>
          <a:xfrm>
            <a:off x="7308279" y="238544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" name="Freeform 163">
            <a:extLst>
              <a:ext uri="{FF2B5EF4-FFF2-40B4-BE49-F238E27FC236}">
                <a16:creationId xmlns:a16="http://schemas.microsoft.com/office/drawing/2014/main" id="{565FBD2C-D27E-5ECB-022E-6CCEDC940B06}"/>
              </a:ext>
            </a:extLst>
          </p:cNvPr>
          <p:cNvSpPr/>
          <p:nvPr/>
        </p:nvSpPr>
        <p:spPr>
          <a:xfrm>
            <a:off x="7234536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3" name="Freeform 164">
            <a:extLst>
              <a:ext uri="{FF2B5EF4-FFF2-40B4-BE49-F238E27FC236}">
                <a16:creationId xmlns:a16="http://schemas.microsoft.com/office/drawing/2014/main" id="{ABB1EB66-C613-C197-CB4B-68DCEF31C645}"/>
              </a:ext>
            </a:extLst>
          </p:cNvPr>
          <p:cNvSpPr/>
          <p:nvPr/>
        </p:nvSpPr>
        <p:spPr>
          <a:xfrm>
            <a:off x="7168499" y="238544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Freeform 166">
            <a:extLst>
              <a:ext uri="{FF2B5EF4-FFF2-40B4-BE49-F238E27FC236}">
                <a16:creationId xmlns:a16="http://schemas.microsoft.com/office/drawing/2014/main" id="{36A6BA65-E54F-DCFB-4EEA-045440188077}"/>
              </a:ext>
            </a:extLst>
          </p:cNvPr>
          <p:cNvSpPr/>
          <p:nvPr/>
        </p:nvSpPr>
        <p:spPr>
          <a:xfrm>
            <a:off x="7156942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5" name="Freeform 167">
            <a:extLst>
              <a:ext uri="{FF2B5EF4-FFF2-40B4-BE49-F238E27FC236}">
                <a16:creationId xmlns:a16="http://schemas.microsoft.com/office/drawing/2014/main" id="{A7923153-80DC-EA07-7A26-5A71629C7EB3}"/>
              </a:ext>
            </a:extLst>
          </p:cNvPr>
          <p:cNvSpPr/>
          <p:nvPr/>
        </p:nvSpPr>
        <p:spPr>
          <a:xfrm>
            <a:off x="7090904" y="238544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6" name="Freeform 169">
            <a:extLst>
              <a:ext uri="{FF2B5EF4-FFF2-40B4-BE49-F238E27FC236}">
                <a16:creationId xmlns:a16="http://schemas.microsoft.com/office/drawing/2014/main" id="{DE8DBB4A-DCE9-3733-E55A-023ABC3391B9}"/>
              </a:ext>
            </a:extLst>
          </p:cNvPr>
          <p:cNvSpPr/>
          <p:nvPr/>
        </p:nvSpPr>
        <p:spPr>
          <a:xfrm>
            <a:off x="7136031" y="22997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7" name="Freeform 170">
            <a:extLst>
              <a:ext uri="{FF2B5EF4-FFF2-40B4-BE49-F238E27FC236}">
                <a16:creationId xmlns:a16="http://schemas.microsoft.com/office/drawing/2014/main" id="{9B629EF4-0637-76CC-193F-BDD72ED17BFD}"/>
              </a:ext>
            </a:extLst>
          </p:cNvPr>
          <p:cNvSpPr/>
          <p:nvPr/>
        </p:nvSpPr>
        <p:spPr>
          <a:xfrm>
            <a:off x="7070543" y="235657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Freeform 172">
            <a:extLst>
              <a:ext uri="{FF2B5EF4-FFF2-40B4-BE49-F238E27FC236}">
                <a16:creationId xmlns:a16="http://schemas.microsoft.com/office/drawing/2014/main" id="{0AF606E9-8B67-7C62-20EE-55861611249F}"/>
              </a:ext>
            </a:extLst>
          </p:cNvPr>
          <p:cNvSpPr/>
          <p:nvPr/>
        </p:nvSpPr>
        <p:spPr>
          <a:xfrm>
            <a:off x="6997902" y="22997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9" name="Freeform 173">
            <a:extLst>
              <a:ext uri="{FF2B5EF4-FFF2-40B4-BE49-F238E27FC236}">
                <a16:creationId xmlns:a16="http://schemas.microsoft.com/office/drawing/2014/main" id="{4DCE53BF-C8AF-9484-D7F6-E27D02F43C43}"/>
              </a:ext>
            </a:extLst>
          </p:cNvPr>
          <p:cNvSpPr/>
          <p:nvPr/>
        </p:nvSpPr>
        <p:spPr>
          <a:xfrm>
            <a:off x="6931864" y="2356572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0" name="Freeform 175">
            <a:extLst>
              <a:ext uri="{FF2B5EF4-FFF2-40B4-BE49-F238E27FC236}">
                <a16:creationId xmlns:a16="http://schemas.microsoft.com/office/drawing/2014/main" id="{828C0AF4-D745-BE41-B0F8-0464D848ECCA}"/>
              </a:ext>
            </a:extLst>
          </p:cNvPr>
          <p:cNvSpPr/>
          <p:nvPr/>
        </p:nvSpPr>
        <p:spPr>
          <a:xfrm>
            <a:off x="6969285" y="22997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1" name="Freeform 176">
            <a:extLst>
              <a:ext uri="{FF2B5EF4-FFF2-40B4-BE49-F238E27FC236}">
                <a16:creationId xmlns:a16="http://schemas.microsoft.com/office/drawing/2014/main" id="{CD9F99D0-39E8-F786-4DC7-5D1DC144B9EA}"/>
              </a:ext>
            </a:extLst>
          </p:cNvPr>
          <p:cNvSpPr/>
          <p:nvPr/>
        </p:nvSpPr>
        <p:spPr>
          <a:xfrm>
            <a:off x="6903248" y="235657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Freeform 178">
            <a:extLst>
              <a:ext uri="{FF2B5EF4-FFF2-40B4-BE49-F238E27FC236}">
                <a16:creationId xmlns:a16="http://schemas.microsoft.com/office/drawing/2014/main" id="{71BD5661-0B19-B98E-A7C6-55D817575310}"/>
              </a:ext>
            </a:extLst>
          </p:cNvPr>
          <p:cNvSpPr/>
          <p:nvPr/>
        </p:nvSpPr>
        <p:spPr>
          <a:xfrm>
            <a:off x="6943971" y="227469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Freeform 179">
            <a:extLst>
              <a:ext uri="{FF2B5EF4-FFF2-40B4-BE49-F238E27FC236}">
                <a16:creationId xmlns:a16="http://schemas.microsoft.com/office/drawing/2014/main" id="{205D89CA-6271-456A-883E-64C0DE097E6C}"/>
              </a:ext>
            </a:extLst>
          </p:cNvPr>
          <p:cNvSpPr/>
          <p:nvPr/>
        </p:nvSpPr>
        <p:spPr>
          <a:xfrm>
            <a:off x="6878484" y="233148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4" name="Freeform 181">
            <a:extLst>
              <a:ext uri="{FF2B5EF4-FFF2-40B4-BE49-F238E27FC236}">
                <a16:creationId xmlns:a16="http://schemas.microsoft.com/office/drawing/2014/main" id="{A85AB4A2-CA2D-992F-DB18-16960D928638}"/>
              </a:ext>
            </a:extLst>
          </p:cNvPr>
          <p:cNvSpPr/>
          <p:nvPr/>
        </p:nvSpPr>
        <p:spPr>
          <a:xfrm>
            <a:off x="6915354" y="227469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5" name="Freeform 182">
            <a:extLst>
              <a:ext uri="{FF2B5EF4-FFF2-40B4-BE49-F238E27FC236}">
                <a16:creationId xmlns:a16="http://schemas.microsoft.com/office/drawing/2014/main" id="{2D0C305E-88DD-8514-1B66-9BB87E74BD47}"/>
              </a:ext>
            </a:extLst>
          </p:cNvPr>
          <p:cNvSpPr/>
          <p:nvPr/>
        </p:nvSpPr>
        <p:spPr>
          <a:xfrm>
            <a:off x="6849868" y="233148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Freeform 184">
            <a:extLst>
              <a:ext uri="{FF2B5EF4-FFF2-40B4-BE49-F238E27FC236}">
                <a16:creationId xmlns:a16="http://schemas.microsoft.com/office/drawing/2014/main" id="{36F4E2F8-CEE3-4162-2874-430689A39B24}"/>
              </a:ext>
            </a:extLst>
          </p:cNvPr>
          <p:cNvSpPr/>
          <p:nvPr/>
        </p:nvSpPr>
        <p:spPr>
          <a:xfrm>
            <a:off x="6894444" y="225007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7" name="Freeform 185">
            <a:extLst>
              <a:ext uri="{FF2B5EF4-FFF2-40B4-BE49-F238E27FC236}">
                <a16:creationId xmlns:a16="http://schemas.microsoft.com/office/drawing/2014/main" id="{EC9B4066-4A65-CACA-8B80-C48E62261D37}"/>
              </a:ext>
            </a:extLst>
          </p:cNvPr>
          <p:cNvSpPr/>
          <p:nvPr/>
        </p:nvSpPr>
        <p:spPr>
          <a:xfrm>
            <a:off x="6828405" y="230687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Freeform 187">
            <a:extLst>
              <a:ext uri="{FF2B5EF4-FFF2-40B4-BE49-F238E27FC236}">
                <a16:creationId xmlns:a16="http://schemas.microsoft.com/office/drawing/2014/main" id="{03A5C3D5-9E44-483C-BF81-8970266A2BDE}"/>
              </a:ext>
            </a:extLst>
          </p:cNvPr>
          <p:cNvSpPr/>
          <p:nvPr/>
        </p:nvSpPr>
        <p:spPr>
          <a:xfrm>
            <a:off x="6776125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Freeform 188">
            <a:extLst>
              <a:ext uri="{FF2B5EF4-FFF2-40B4-BE49-F238E27FC236}">
                <a16:creationId xmlns:a16="http://schemas.microsoft.com/office/drawing/2014/main" id="{B994E283-08B8-9431-A5F2-87F8E1DDDFF9}"/>
              </a:ext>
            </a:extLst>
          </p:cNvPr>
          <p:cNvSpPr/>
          <p:nvPr/>
        </p:nvSpPr>
        <p:spPr>
          <a:xfrm>
            <a:off x="6710088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Freeform 190">
            <a:extLst>
              <a:ext uri="{FF2B5EF4-FFF2-40B4-BE49-F238E27FC236}">
                <a16:creationId xmlns:a16="http://schemas.microsoft.com/office/drawing/2014/main" id="{446345C8-CF25-8B49-027A-11CE6F6DA982}"/>
              </a:ext>
            </a:extLst>
          </p:cNvPr>
          <p:cNvSpPr/>
          <p:nvPr/>
        </p:nvSpPr>
        <p:spPr>
          <a:xfrm>
            <a:off x="6733751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1" name="Freeform 191">
            <a:extLst>
              <a:ext uri="{FF2B5EF4-FFF2-40B4-BE49-F238E27FC236}">
                <a16:creationId xmlns:a16="http://schemas.microsoft.com/office/drawing/2014/main" id="{3D487A67-3E54-4362-611F-85F5D7E271B9}"/>
              </a:ext>
            </a:extLst>
          </p:cNvPr>
          <p:cNvSpPr/>
          <p:nvPr/>
        </p:nvSpPr>
        <p:spPr>
          <a:xfrm>
            <a:off x="6668265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Freeform 193">
            <a:extLst>
              <a:ext uri="{FF2B5EF4-FFF2-40B4-BE49-F238E27FC236}">
                <a16:creationId xmlns:a16="http://schemas.microsoft.com/office/drawing/2014/main" id="{16A10CEC-EFE1-BC33-8C4C-657954CF18BA}"/>
              </a:ext>
            </a:extLst>
          </p:cNvPr>
          <p:cNvSpPr/>
          <p:nvPr/>
        </p:nvSpPr>
        <p:spPr>
          <a:xfrm>
            <a:off x="6717242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3" name="Freeform 194">
            <a:extLst>
              <a:ext uri="{FF2B5EF4-FFF2-40B4-BE49-F238E27FC236}">
                <a16:creationId xmlns:a16="http://schemas.microsoft.com/office/drawing/2014/main" id="{A4BC3397-9E04-B881-8A1B-C95CDA4AA1E9}"/>
              </a:ext>
            </a:extLst>
          </p:cNvPr>
          <p:cNvSpPr/>
          <p:nvPr/>
        </p:nvSpPr>
        <p:spPr>
          <a:xfrm>
            <a:off x="6651755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4" name="Freeform 196">
            <a:extLst>
              <a:ext uri="{FF2B5EF4-FFF2-40B4-BE49-F238E27FC236}">
                <a16:creationId xmlns:a16="http://schemas.microsoft.com/office/drawing/2014/main" id="{4E3B5A44-71BA-BB29-1F48-91BCD13A7DB5}"/>
              </a:ext>
            </a:extLst>
          </p:cNvPr>
          <p:cNvSpPr/>
          <p:nvPr/>
        </p:nvSpPr>
        <p:spPr>
          <a:xfrm>
            <a:off x="6711739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5" name="Freeform 197">
            <a:extLst>
              <a:ext uri="{FF2B5EF4-FFF2-40B4-BE49-F238E27FC236}">
                <a16:creationId xmlns:a16="http://schemas.microsoft.com/office/drawing/2014/main" id="{190C3760-8D91-0719-E1DE-BA701451EEBD}"/>
              </a:ext>
            </a:extLst>
          </p:cNvPr>
          <p:cNvSpPr/>
          <p:nvPr/>
        </p:nvSpPr>
        <p:spPr>
          <a:xfrm>
            <a:off x="6646252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Freeform 199">
            <a:extLst>
              <a:ext uri="{FF2B5EF4-FFF2-40B4-BE49-F238E27FC236}">
                <a16:creationId xmlns:a16="http://schemas.microsoft.com/office/drawing/2014/main" id="{2643E001-7772-B1FB-AD85-5E10EC9440EF}"/>
              </a:ext>
            </a:extLst>
          </p:cNvPr>
          <p:cNvSpPr/>
          <p:nvPr/>
        </p:nvSpPr>
        <p:spPr>
          <a:xfrm>
            <a:off x="6541692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7" name="Freeform 200">
            <a:extLst>
              <a:ext uri="{FF2B5EF4-FFF2-40B4-BE49-F238E27FC236}">
                <a16:creationId xmlns:a16="http://schemas.microsoft.com/office/drawing/2014/main" id="{1079F967-0388-5B8B-A495-3806888F9EAE}"/>
              </a:ext>
            </a:extLst>
          </p:cNvPr>
          <p:cNvSpPr/>
          <p:nvPr/>
        </p:nvSpPr>
        <p:spPr>
          <a:xfrm>
            <a:off x="6476205" y="223635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8" name="Freeform 202">
            <a:extLst>
              <a:ext uri="{FF2B5EF4-FFF2-40B4-BE49-F238E27FC236}">
                <a16:creationId xmlns:a16="http://schemas.microsoft.com/office/drawing/2014/main" id="{CE7DA058-74B2-3C83-6CDD-6F48F6A7562F}"/>
              </a:ext>
            </a:extLst>
          </p:cNvPr>
          <p:cNvSpPr/>
          <p:nvPr/>
        </p:nvSpPr>
        <p:spPr>
          <a:xfrm>
            <a:off x="6454743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Freeform 203">
            <a:extLst>
              <a:ext uri="{FF2B5EF4-FFF2-40B4-BE49-F238E27FC236}">
                <a16:creationId xmlns:a16="http://schemas.microsoft.com/office/drawing/2014/main" id="{47AFE702-59A2-D589-165D-FF01333C1B20}"/>
              </a:ext>
            </a:extLst>
          </p:cNvPr>
          <p:cNvSpPr/>
          <p:nvPr/>
        </p:nvSpPr>
        <p:spPr>
          <a:xfrm>
            <a:off x="6388706" y="223635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Freeform 205">
            <a:extLst>
              <a:ext uri="{FF2B5EF4-FFF2-40B4-BE49-F238E27FC236}">
                <a16:creationId xmlns:a16="http://schemas.microsoft.com/office/drawing/2014/main" id="{41F01596-A1B0-BCCB-D0B6-0E9D2C863845}"/>
              </a:ext>
            </a:extLst>
          </p:cNvPr>
          <p:cNvSpPr/>
          <p:nvPr/>
        </p:nvSpPr>
        <p:spPr>
          <a:xfrm>
            <a:off x="6364491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Freeform 206">
            <a:extLst>
              <a:ext uri="{FF2B5EF4-FFF2-40B4-BE49-F238E27FC236}">
                <a16:creationId xmlns:a16="http://schemas.microsoft.com/office/drawing/2014/main" id="{F7010F3B-F984-B074-8D18-EA2A41835DED}"/>
              </a:ext>
            </a:extLst>
          </p:cNvPr>
          <p:cNvSpPr/>
          <p:nvPr/>
        </p:nvSpPr>
        <p:spPr>
          <a:xfrm>
            <a:off x="6298454" y="223635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Freeform 208">
            <a:extLst>
              <a:ext uri="{FF2B5EF4-FFF2-40B4-BE49-F238E27FC236}">
                <a16:creationId xmlns:a16="http://schemas.microsoft.com/office/drawing/2014/main" id="{1A983DD5-A9CA-39D5-744B-B6188BAC494E}"/>
              </a:ext>
            </a:extLst>
          </p:cNvPr>
          <p:cNvSpPr/>
          <p:nvPr/>
        </p:nvSpPr>
        <p:spPr>
          <a:xfrm>
            <a:off x="6300655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3" name="Freeform 209">
            <a:extLst>
              <a:ext uri="{FF2B5EF4-FFF2-40B4-BE49-F238E27FC236}">
                <a16:creationId xmlns:a16="http://schemas.microsoft.com/office/drawing/2014/main" id="{F4149E71-6AD6-96A3-0036-A008D35D9885}"/>
              </a:ext>
            </a:extLst>
          </p:cNvPr>
          <p:cNvSpPr/>
          <p:nvPr/>
        </p:nvSpPr>
        <p:spPr>
          <a:xfrm>
            <a:off x="6234617" y="223635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Freeform 211">
            <a:extLst>
              <a:ext uri="{FF2B5EF4-FFF2-40B4-BE49-F238E27FC236}">
                <a16:creationId xmlns:a16="http://schemas.microsoft.com/office/drawing/2014/main" id="{60FB8E78-9ACD-9F42-D9F0-51C09D43A51A}"/>
              </a:ext>
            </a:extLst>
          </p:cNvPr>
          <p:cNvSpPr/>
          <p:nvPr/>
        </p:nvSpPr>
        <p:spPr>
          <a:xfrm>
            <a:off x="6294601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5" name="Freeform 212">
            <a:extLst>
              <a:ext uri="{FF2B5EF4-FFF2-40B4-BE49-F238E27FC236}">
                <a16:creationId xmlns:a16="http://schemas.microsoft.com/office/drawing/2014/main" id="{FF00F6CF-B5B3-88BA-2E08-75BDECCCB2EC}"/>
              </a:ext>
            </a:extLst>
          </p:cNvPr>
          <p:cNvSpPr/>
          <p:nvPr/>
        </p:nvSpPr>
        <p:spPr>
          <a:xfrm>
            <a:off x="6228564" y="223635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6" name="Freeform 214">
            <a:extLst>
              <a:ext uri="{FF2B5EF4-FFF2-40B4-BE49-F238E27FC236}">
                <a16:creationId xmlns:a16="http://schemas.microsoft.com/office/drawing/2014/main" id="{605A62CE-FAD8-674F-1066-BEDB37C35EA3}"/>
              </a:ext>
            </a:extLst>
          </p:cNvPr>
          <p:cNvSpPr/>
          <p:nvPr/>
        </p:nvSpPr>
        <p:spPr>
          <a:xfrm>
            <a:off x="6220309" y="215731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7" name="Freeform 215">
            <a:extLst>
              <a:ext uri="{FF2B5EF4-FFF2-40B4-BE49-F238E27FC236}">
                <a16:creationId xmlns:a16="http://schemas.microsoft.com/office/drawing/2014/main" id="{FFF66842-319F-554D-C93A-4D71D6148ED7}"/>
              </a:ext>
            </a:extLst>
          </p:cNvPr>
          <p:cNvSpPr/>
          <p:nvPr/>
        </p:nvSpPr>
        <p:spPr>
          <a:xfrm>
            <a:off x="6154272" y="221410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Freeform 217">
            <a:extLst>
              <a:ext uri="{FF2B5EF4-FFF2-40B4-BE49-F238E27FC236}">
                <a16:creationId xmlns:a16="http://schemas.microsoft.com/office/drawing/2014/main" id="{5E1E8004-0230-2730-DD51-82B1151CC7A0}"/>
              </a:ext>
            </a:extLst>
          </p:cNvPr>
          <p:cNvSpPr/>
          <p:nvPr/>
        </p:nvSpPr>
        <p:spPr>
          <a:xfrm>
            <a:off x="6091536" y="213648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9" name="Freeform 218">
            <a:extLst>
              <a:ext uri="{FF2B5EF4-FFF2-40B4-BE49-F238E27FC236}">
                <a16:creationId xmlns:a16="http://schemas.microsoft.com/office/drawing/2014/main" id="{9D393AD6-C15C-1127-BB1E-279B88BF383B}"/>
              </a:ext>
            </a:extLst>
          </p:cNvPr>
          <p:cNvSpPr/>
          <p:nvPr/>
        </p:nvSpPr>
        <p:spPr>
          <a:xfrm>
            <a:off x="6025499" y="219280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0" name="Freeform 220">
            <a:extLst>
              <a:ext uri="{FF2B5EF4-FFF2-40B4-BE49-F238E27FC236}">
                <a16:creationId xmlns:a16="http://schemas.microsoft.com/office/drawing/2014/main" id="{81390A1D-9757-1584-2969-44A423C496BA}"/>
              </a:ext>
            </a:extLst>
          </p:cNvPr>
          <p:cNvSpPr/>
          <p:nvPr/>
        </p:nvSpPr>
        <p:spPr>
          <a:xfrm>
            <a:off x="5966615" y="2114714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1" name="Freeform 221">
            <a:extLst>
              <a:ext uri="{FF2B5EF4-FFF2-40B4-BE49-F238E27FC236}">
                <a16:creationId xmlns:a16="http://schemas.microsoft.com/office/drawing/2014/main" id="{AA68422F-E340-A5A5-5B9C-B273A5A4F49A}"/>
              </a:ext>
            </a:extLst>
          </p:cNvPr>
          <p:cNvSpPr/>
          <p:nvPr/>
        </p:nvSpPr>
        <p:spPr>
          <a:xfrm>
            <a:off x="5900578" y="2171511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Freeform 223">
            <a:extLst>
              <a:ext uri="{FF2B5EF4-FFF2-40B4-BE49-F238E27FC236}">
                <a16:creationId xmlns:a16="http://schemas.microsoft.com/office/drawing/2014/main" id="{4EED967E-4DC9-D0A4-B331-35A97A0D90E0}"/>
              </a:ext>
            </a:extLst>
          </p:cNvPr>
          <p:cNvSpPr/>
          <p:nvPr/>
        </p:nvSpPr>
        <p:spPr>
          <a:xfrm>
            <a:off x="5678250" y="2095309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3" name="Freeform 224">
            <a:extLst>
              <a:ext uri="{FF2B5EF4-FFF2-40B4-BE49-F238E27FC236}">
                <a16:creationId xmlns:a16="http://schemas.microsoft.com/office/drawing/2014/main" id="{27168DD8-867D-4C77-CC69-7430CAC43364}"/>
              </a:ext>
            </a:extLst>
          </p:cNvPr>
          <p:cNvSpPr/>
          <p:nvPr/>
        </p:nvSpPr>
        <p:spPr>
          <a:xfrm>
            <a:off x="5612213" y="2152105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4" name="Freeform 226">
            <a:extLst>
              <a:ext uri="{FF2B5EF4-FFF2-40B4-BE49-F238E27FC236}">
                <a16:creationId xmlns:a16="http://schemas.microsoft.com/office/drawing/2014/main" id="{D8A7119A-1207-E335-CA32-3193F0FAFF78}"/>
              </a:ext>
            </a:extLst>
          </p:cNvPr>
          <p:cNvSpPr/>
          <p:nvPr/>
        </p:nvSpPr>
        <p:spPr>
          <a:xfrm>
            <a:off x="5513157" y="20541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Freeform 227">
            <a:extLst>
              <a:ext uri="{FF2B5EF4-FFF2-40B4-BE49-F238E27FC236}">
                <a16:creationId xmlns:a16="http://schemas.microsoft.com/office/drawing/2014/main" id="{7E3F9741-BBAC-751D-EE23-9D5842A28BB6}"/>
              </a:ext>
            </a:extLst>
          </p:cNvPr>
          <p:cNvSpPr/>
          <p:nvPr/>
        </p:nvSpPr>
        <p:spPr>
          <a:xfrm>
            <a:off x="5447120" y="211045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Freeform 229">
            <a:extLst>
              <a:ext uri="{FF2B5EF4-FFF2-40B4-BE49-F238E27FC236}">
                <a16:creationId xmlns:a16="http://schemas.microsoft.com/office/drawing/2014/main" id="{4C5A1F2A-8D2D-4A77-5E90-5E63C6C7AD58}"/>
              </a:ext>
            </a:extLst>
          </p:cNvPr>
          <p:cNvSpPr/>
          <p:nvPr/>
        </p:nvSpPr>
        <p:spPr>
          <a:xfrm>
            <a:off x="5447120" y="20541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7" name="Freeform 230">
            <a:extLst>
              <a:ext uri="{FF2B5EF4-FFF2-40B4-BE49-F238E27FC236}">
                <a16:creationId xmlns:a16="http://schemas.microsoft.com/office/drawing/2014/main" id="{1749412A-4814-8A1F-D9F2-40349A2023F6}"/>
              </a:ext>
            </a:extLst>
          </p:cNvPr>
          <p:cNvSpPr/>
          <p:nvPr/>
        </p:nvSpPr>
        <p:spPr>
          <a:xfrm>
            <a:off x="5381632" y="211045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Freeform 232">
            <a:extLst>
              <a:ext uri="{FF2B5EF4-FFF2-40B4-BE49-F238E27FC236}">
                <a16:creationId xmlns:a16="http://schemas.microsoft.com/office/drawing/2014/main" id="{F1BC9D54-1123-8CDF-3615-4752C6172407}"/>
              </a:ext>
            </a:extLst>
          </p:cNvPr>
          <p:cNvSpPr/>
          <p:nvPr/>
        </p:nvSpPr>
        <p:spPr>
          <a:xfrm>
            <a:off x="5274872" y="201437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Freeform 233">
            <a:extLst>
              <a:ext uri="{FF2B5EF4-FFF2-40B4-BE49-F238E27FC236}">
                <a16:creationId xmlns:a16="http://schemas.microsoft.com/office/drawing/2014/main" id="{05AEB689-279B-6602-377B-ADF28209722C}"/>
              </a:ext>
            </a:extLst>
          </p:cNvPr>
          <p:cNvSpPr/>
          <p:nvPr/>
        </p:nvSpPr>
        <p:spPr>
          <a:xfrm>
            <a:off x="5209384" y="207069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Freeform 235">
            <a:extLst>
              <a:ext uri="{FF2B5EF4-FFF2-40B4-BE49-F238E27FC236}">
                <a16:creationId xmlns:a16="http://schemas.microsoft.com/office/drawing/2014/main" id="{F35B0C85-E11F-7299-709B-B1A7CBEE140D}"/>
              </a:ext>
            </a:extLst>
          </p:cNvPr>
          <p:cNvSpPr/>
          <p:nvPr/>
        </p:nvSpPr>
        <p:spPr>
          <a:xfrm>
            <a:off x="5249007" y="199591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Freeform 236">
            <a:extLst>
              <a:ext uri="{FF2B5EF4-FFF2-40B4-BE49-F238E27FC236}">
                <a16:creationId xmlns:a16="http://schemas.microsoft.com/office/drawing/2014/main" id="{D26124A5-0C82-F0E3-EC92-B3793F8FE804}"/>
              </a:ext>
            </a:extLst>
          </p:cNvPr>
          <p:cNvSpPr/>
          <p:nvPr/>
        </p:nvSpPr>
        <p:spPr>
          <a:xfrm>
            <a:off x="5183520" y="205223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Freeform 238">
            <a:extLst>
              <a:ext uri="{FF2B5EF4-FFF2-40B4-BE49-F238E27FC236}">
                <a16:creationId xmlns:a16="http://schemas.microsoft.com/office/drawing/2014/main" id="{57E98460-29B3-F84C-138A-FDC9CF8867C6}"/>
              </a:ext>
            </a:extLst>
          </p:cNvPr>
          <p:cNvSpPr/>
          <p:nvPr/>
        </p:nvSpPr>
        <p:spPr>
          <a:xfrm>
            <a:off x="5157655" y="197556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Freeform 239">
            <a:extLst>
              <a:ext uri="{FF2B5EF4-FFF2-40B4-BE49-F238E27FC236}">
                <a16:creationId xmlns:a16="http://schemas.microsoft.com/office/drawing/2014/main" id="{6C4C26D5-D80F-E434-5368-22BDDC9A13D4}"/>
              </a:ext>
            </a:extLst>
          </p:cNvPr>
          <p:cNvSpPr/>
          <p:nvPr/>
        </p:nvSpPr>
        <p:spPr>
          <a:xfrm>
            <a:off x="5091618" y="2031886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4" name="Freeform 241">
            <a:extLst>
              <a:ext uri="{FF2B5EF4-FFF2-40B4-BE49-F238E27FC236}">
                <a16:creationId xmlns:a16="http://schemas.microsoft.com/office/drawing/2014/main" id="{A727AC76-4FB9-CBA9-A08F-4A24836ABD58}"/>
              </a:ext>
            </a:extLst>
          </p:cNvPr>
          <p:cNvSpPr/>
          <p:nvPr/>
        </p:nvSpPr>
        <p:spPr>
          <a:xfrm>
            <a:off x="5039887" y="195805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5" name="Freeform 242">
            <a:extLst>
              <a:ext uri="{FF2B5EF4-FFF2-40B4-BE49-F238E27FC236}">
                <a16:creationId xmlns:a16="http://schemas.microsoft.com/office/drawing/2014/main" id="{793DBF56-19F8-BC6F-C07E-D8D8512B6826}"/>
              </a:ext>
            </a:extLst>
          </p:cNvPr>
          <p:cNvSpPr/>
          <p:nvPr/>
        </p:nvSpPr>
        <p:spPr>
          <a:xfrm>
            <a:off x="4974401" y="201484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6" name="Freeform 244">
            <a:extLst>
              <a:ext uri="{FF2B5EF4-FFF2-40B4-BE49-F238E27FC236}">
                <a16:creationId xmlns:a16="http://schemas.microsoft.com/office/drawing/2014/main" id="{5A6D7A25-873B-7E03-7314-B728A4212AC0}"/>
              </a:ext>
            </a:extLst>
          </p:cNvPr>
          <p:cNvSpPr/>
          <p:nvPr/>
        </p:nvSpPr>
        <p:spPr>
          <a:xfrm>
            <a:off x="4989809" y="195805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7" name="Freeform 245">
            <a:extLst>
              <a:ext uri="{FF2B5EF4-FFF2-40B4-BE49-F238E27FC236}">
                <a16:creationId xmlns:a16="http://schemas.microsoft.com/office/drawing/2014/main" id="{6D1D4ECE-7E62-1443-60B8-467EB35AE86C}"/>
              </a:ext>
            </a:extLst>
          </p:cNvPr>
          <p:cNvSpPr/>
          <p:nvPr/>
        </p:nvSpPr>
        <p:spPr>
          <a:xfrm>
            <a:off x="4924322" y="201484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8" name="Freeform 247">
            <a:extLst>
              <a:ext uri="{FF2B5EF4-FFF2-40B4-BE49-F238E27FC236}">
                <a16:creationId xmlns:a16="http://schemas.microsoft.com/office/drawing/2014/main" id="{CFE0E996-64AC-F3C7-031B-70B793D2CB88}"/>
              </a:ext>
            </a:extLst>
          </p:cNvPr>
          <p:cNvSpPr/>
          <p:nvPr/>
        </p:nvSpPr>
        <p:spPr>
          <a:xfrm>
            <a:off x="4888002" y="1939592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9" name="Freeform 248">
            <a:extLst>
              <a:ext uri="{FF2B5EF4-FFF2-40B4-BE49-F238E27FC236}">
                <a16:creationId xmlns:a16="http://schemas.microsoft.com/office/drawing/2014/main" id="{14C2BE61-1FE7-69E4-12DB-34DAD17C5C41}"/>
              </a:ext>
            </a:extLst>
          </p:cNvPr>
          <p:cNvSpPr/>
          <p:nvPr/>
        </p:nvSpPr>
        <p:spPr>
          <a:xfrm>
            <a:off x="4822514" y="19963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0" name="Freeform 250">
            <a:extLst>
              <a:ext uri="{FF2B5EF4-FFF2-40B4-BE49-F238E27FC236}">
                <a16:creationId xmlns:a16="http://schemas.microsoft.com/office/drawing/2014/main" id="{44A35120-EDE1-0879-7A65-604503B4B164}"/>
              </a:ext>
            </a:extLst>
          </p:cNvPr>
          <p:cNvSpPr/>
          <p:nvPr/>
        </p:nvSpPr>
        <p:spPr>
          <a:xfrm>
            <a:off x="4771334" y="192160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1" name="Freeform 251">
            <a:extLst>
              <a:ext uri="{FF2B5EF4-FFF2-40B4-BE49-F238E27FC236}">
                <a16:creationId xmlns:a16="http://schemas.microsoft.com/office/drawing/2014/main" id="{774CF326-8DC1-15B2-536A-10EA5022CFD4}"/>
              </a:ext>
            </a:extLst>
          </p:cNvPr>
          <p:cNvSpPr/>
          <p:nvPr/>
        </p:nvSpPr>
        <p:spPr>
          <a:xfrm>
            <a:off x="4705297" y="197793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2" name="Freeform 253">
            <a:extLst>
              <a:ext uri="{FF2B5EF4-FFF2-40B4-BE49-F238E27FC236}">
                <a16:creationId xmlns:a16="http://schemas.microsoft.com/office/drawing/2014/main" id="{EE38652B-F67E-25D2-D00B-29B6706A2AAC}"/>
              </a:ext>
            </a:extLst>
          </p:cNvPr>
          <p:cNvSpPr/>
          <p:nvPr/>
        </p:nvSpPr>
        <p:spPr>
          <a:xfrm>
            <a:off x="4550659" y="186954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3" name="Freeform 254">
            <a:extLst>
              <a:ext uri="{FF2B5EF4-FFF2-40B4-BE49-F238E27FC236}">
                <a16:creationId xmlns:a16="http://schemas.microsoft.com/office/drawing/2014/main" id="{E6DA5BE8-205E-4D35-49B5-E13C53EC0C83}"/>
              </a:ext>
            </a:extLst>
          </p:cNvPr>
          <p:cNvSpPr/>
          <p:nvPr/>
        </p:nvSpPr>
        <p:spPr>
          <a:xfrm>
            <a:off x="4484622" y="192586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4" name="Freeform 256">
            <a:extLst>
              <a:ext uri="{FF2B5EF4-FFF2-40B4-BE49-F238E27FC236}">
                <a16:creationId xmlns:a16="http://schemas.microsoft.com/office/drawing/2014/main" id="{F70045A9-C389-B0DE-F0D0-A8D9E9CD1394}"/>
              </a:ext>
            </a:extLst>
          </p:cNvPr>
          <p:cNvSpPr/>
          <p:nvPr/>
        </p:nvSpPr>
        <p:spPr>
          <a:xfrm>
            <a:off x="4422436" y="183215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5" name="Freeform 257">
            <a:extLst>
              <a:ext uri="{FF2B5EF4-FFF2-40B4-BE49-F238E27FC236}">
                <a16:creationId xmlns:a16="http://schemas.microsoft.com/office/drawing/2014/main" id="{7924A80C-8548-B7F8-67A9-35B7103EF8A3}"/>
              </a:ext>
            </a:extLst>
          </p:cNvPr>
          <p:cNvSpPr/>
          <p:nvPr/>
        </p:nvSpPr>
        <p:spPr>
          <a:xfrm>
            <a:off x="4356949" y="188894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6" name="Freeform 259">
            <a:extLst>
              <a:ext uri="{FF2B5EF4-FFF2-40B4-BE49-F238E27FC236}">
                <a16:creationId xmlns:a16="http://schemas.microsoft.com/office/drawing/2014/main" id="{425CA470-EE72-3765-578A-F08AE75705AE}"/>
              </a:ext>
            </a:extLst>
          </p:cNvPr>
          <p:cNvSpPr/>
          <p:nvPr/>
        </p:nvSpPr>
        <p:spPr>
          <a:xfrm>
            <a:off x="798516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7" name="Freeform 260">
            <a:extLst>
              <a:ext uri="{FF2B5EF4-FFF2-40B4-BE49-F238E27FC236}">
                <a16:creationId xmlns:a16="http://schemas.microsoft.com/office/drawing/2014/main" id="{6EBCB528-23BB-8C09-FBFD-47EEA80FCEEB}"/>
              </a:ext>
            </a:extLst>
          </p:cNvPr>
          <p:cNvSpPr/>
          <p:nvPr/>
        </p:nvSpPr>
        <p:spPr>
          <a:xfrm>
            <a:off x="7919677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8" name="Freeform 262">
            <a:extLst>
              <a:ext uri="{FF2B5EF4-FFF2-40B4-BE49-F238E27FC236}">
                <a16:creationId xmlns:a16="http://schemas.microsoft.com/office/drawing/2014/main" id="{97AF37CB-4A4B-9A1C-BBB7-3C49F23556F7}"/>
              </a:ext>
            </a:extLst>
          </p:cNvPr>
          <p:cNvSpPr/>
          <p:nvPr/>
        </p:nvSpPr>
        <p:spPr>
          <a:xfrm>
            <a:off x="3489656" y="167359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9" name="Freeform 263">
            <a:extLst>
              <a:ext uri="{FF2B5EF4-FFF2-40B4-BE49-F238E27FC236}">
                <a16:creationId xmlns:a16="http://schemas.microsoft.com/office/drawing/2014/main" id="{1CAA8244-E8A9-21D7-7C69-D39F6B456FB6}"/>
              </a:ext>
            </a:extLst>
          </p:cNvPr>
          <p:cNvSpPr/>
          <p:nvPr/>
        </p:nvSpPr>
        <p:spPr>
          <a:xfrm>
            <a:off x="3423617" y="173039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0" name="Freeform 265">
            <a:extLst>
              <a:ext uri="{FF2B5EF4-FFF2-40B4-BE49-F238E27FC236}">
                <a16:creationId xmlns:a16="http://schemas.microsoft.com/office/drawing/2014/main" id="{E6C8B6E3-FD06-514E-9F70-BF481818DE28}"/>
              </a:ext>
            </a:extLst>
          </p:cNvPr>
          <p:cNvSpPr/>
          <p:nvPr/>
        </p:nvSpPr>
        <p:spPr>
          <a:xfrm>
            <a:off x="3058210" y="157041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1" name="Freeform 266">
            <a:extLst>
              <a:ext uri="{FF2B5EF4-FFF2-40B4-BE49-F238E27FC236}">
                <a16:creationId xmlns:a16="http://schemas.microsoft.com/office/drawing/2014/main" id="{6202BA43-1160-1A4E-1ECA-C06A7F932375}"/>
              </a:ext>
            </a:extLst>
          </p:cNvPr>
          <p:cNvSpPr/>
          <p:nvPr/>
        </p:nvSpPr>
        <p:spPr>
          <a:xfrm>
            <a:off x="2992723" y="162721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2" name="Freeform 268">
            <a:extLst>
              <a:ext uri="{FF2B5EF4-FFF2-40B4-BE49-F238E27FC236}">
                <a16:creationId xmlns:a16="http://schemas.microsoft.com/office/drawing/2014/main" id="{AECE8920-D062-51B9-D916-8433C6FEEED1}"/>
              </a:ext>
            </a:extLst>
          </p:cNvPr>
          <p:cNvSpPr/>
          <p:nvPr/>
        </p:nvSpPr>
        <p:spPr>
          <a:xfrm>
            <a:off x="2796811" y="150320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3" name="Freeform 269">
            <a:extLst>
              <a:ext uri="{FF2B5EF4-FFF2-40B4-BE49-F238E27FC236}">
                <a16:creationId xmlns:a16="http://schemas.microsoft.com/office/drawing/2014/main" id="{C9CB514E-6A85-1F39-6677-0F508075AA30}"/>
              </a:ext>
            </a:extLst>
          </p:cNvPr>
          <p:cNvSpPr/>
          <p:nvPr/>
        </p:nvSpPr>
        <p:spPr>
          <a:xfrm>
            <a:off x="2731324" y="156000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4" name="Freeform 271">
            <a:extLst>
              <a:ext uri="{FF2B5EF4-FFF2-40B4-BE49-F238E27FC236}">
                <a16:creationId xmlns:a16="http://schemas.microsoft.com/office/drawing/2014/main" id="{DB0D4262-C5B0-7FAB-0C03-5F47976948B7}"/>
              </a:ext>
            </a:extLst>
          </p:cNvPr>
          <p:cNvSpPr/>
          <p:nvPr/>
        </p:nvSpPr>
        <p:spPr>
          <a:xfrm>
            <a:off x="2439658" y="1352697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5" name="Freeform 272">
            <a:extLst>
              <a:ext uri="{FF2B5EF4-FFF2-40B4-BE49-F238E27FC236}">
                <a16:creationId xmlns:a16="http://schemas.microsoft.com/office/drawing/2014/main" id="{93C27A0F-3648-3DB8-127C-A0AECEBAEF8F}"/>
              </a:ext>
            </a:extLst>
          </p:cNvPr>
          <p:cNvSpPr/>
          <p:nvPr/>
        </p:nvSpPr>
        <p:spPr>
          <a:xfrm>
            <a:off x="2374171" y="140949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" name="Freeform 274">
            <a:extLst>
              <a:ext uri="{FF2B5EF4-FFF2-40B4-BE49-F238E27FC236}">
                <a16:creationId xmlns:a16="http://schemas.microsoft.com/office/drawing/2014/main" id="{0C122BF7-A94F-E2AA-8D40-42448F15DE15}"/>
              </a:ext>
            </a:extLst>
          </p:cNvPr>
          <p:cNvSpPr/>
          <p:nvPr/>
        </p:nvSpPr>
        <p:spPr>
          <a:xfrm>
            <a:off x="2352159" y="1333765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" name="Freeform 275">
            <a:extLst>
              <a:ext uri="{FF2B5EF4-FFF2-40B4-BE49-F238E27FC236}">
                <a16:creationId xmlns:a16="http://schemas.microsoft.com/office/drawing/2014/main" id="{6C36146E-432B-A3C1-4EF0-E636F70D0E61}"/>
              </a:ext>
            </a:extLst>
          </p:cNvPr>
          <p:cNvSpPr/>
          <p:nvPr/>
        </p:nvSpPr>
        <p:spPr>
          <a:xfrm>
            <a:off x="2286120" y="139056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Freeform 277">
            <a:extLst>
              <a:ext uri="{FF2B5EF4-FFF2-40B4-BE49-F238E27FC236}">
                <a16:creationId xmlns:a16="http://schemas.microsoft.com/office/drawing/2014/main" id="{286A6AAF-2664-298B-0FDC-981B8D2831DD}"/>
              </a:ext>
            </a:extLst>
          </p:cNvPr>
          <p:cNvSpPr/>
          <p:nvPr/>
        </p:nvSpPr>
        <p:spPr>
          <a:xfrm>
            <a:off x="2337851" y="131720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9" name="Freeform 278">
            <a:extLst>
              <a:ext uri="{FF2B5EF4-FFF2-40B4-BE49-F238E27FC236}">
                <a16:creationId xmlns:a16="http://schemas.microsoft.com/office/drawing/2014/main" id="{D8CD281D-3896-A78A-7636-ADADCAC44F1F}"/>
              </a:ext>
            </a:extLst>
          </p:cNvPr>
          <p:cNvSpPr/>
          <p:nvPr/>
        </p:nvSpPr>
        <p:spPr>
          <a:xfrm>
            <a:off x="2272363" y="137399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0" name="Freeform 280">
            <a:extLst>
              <a:ext uri="{FF2B5EF4-FFF2-40B4-BE49-F238E27FC236}">
                <a16:creationId xmlns:a16="http://schemas.microsoft.com/office/drawing/2014/main" id="{ECAFF320-3300-66F8-CDE4-1FB70DB2F914}"/>
              </a:ext>
            </a:extLst>
          </p:cNvPr>
          <p:cNvSpPr/>
          <p:nvPr/>
        </p:nvSpPr>
        <p:spPr>
          <a:xfrm>
            <a:off x="2118825" y="124999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1" name="Freeform 281">
            <a:extLst>
              <a:ext uri="{FF2B5EF4-FFF2-40B4-BE49-F238E27FC236}">
                <a16:creationId xmlns:a16="http://schemas.microsoft.com/office/drawing/2014/main" id="{A4C301DA-8C5B-924E-1C9A-89695686FF8F}"/>
              </a:ext>
            </a:extLst>
          </p:cNvPr>
          <p:cNvSpPr/>
          <p:nvPr/>
        </p:nvSpPr>
        <p:spPr>
          <a:xfrm>
            <a:off x="2052788" y="130631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2" name="Freeform 282">
            <a:extLst>
              <a:ext uri="{FF2B5EF4-FFF2-40B4-BE49-F238E27FC236}">
                <a16:creationId xmlns:a16="http://schemas.microsoft.com/office/drawing/2014/main" id="{C149D6D5-FCA5-383A-7206-681743F07BCA}"/>
              </a:ext>
            </a:extLst>
          </p:cNvPr>
          <p:cNvSpPr/>
          <p:nvPr/>
        </p:nvSpPr>
        <p:spPr>
          <a:xfrm>
            <a:off x="2118825" y="1291168"/>
            <a:ext cx="8794554" cy="1821741"/>
          </a:xfrm>
          <a:custGeom>
            <a:avLst/>
            <a:gdLst>
              <a:gd name="connsiteX0" fmla="*/ 0 w 6978130"/>
              <a:gd name="connsiteY0" fmla="*/ 0 h 1680671"/>
              <a:gd name="connsiteX1" fmla="*/ 12226 w 6978130"/>
              <a:gd name="connsiteY1" fmla="*/ 0 h 1680671"/>
              <a:gd name="connsiteX2" fmla="*/ 12226 w 6978130"/>
              <a:gd name="connsiteY2" fmla="*/ 13973 h 1680671"/>
              <a:gd name="connsiteX3" fmla="*/ 30129 w 6978130"/>
              <a:gd name="connsiteY3" fmla="*/ 13973 h 1680671"/>
              <a:gd name="connsiteX4" fmla="*/ 30129 w 6978130"/>
              <a:gd name="connsiteY4" fmla="*/ 31439 h 1680671"/>
              <a:gd name="connsiteX5" fmla="*/ 77724 w 6978130"/>
              <a:gd name="connsiteY5" fmla="*/ 31439 h 1680671"/>
              <a:gd name="connsiteX6" fmla="*/ 77724 w 6978130"/>
              <a:gd name="connsiteY6" fmla="*/ 47158 h 1680671"/>
              <a:gd name="connsiteX7" fmla="*/ 141039 w 6978130"/>
              <a:gd name="connsiteY7" fmla="*/ 47158 h 1680671"/>
              <a:gd name="connsiteX8" fmla="*/ 141039 w 6978130"/>
              <a:gd name="connsiteY8" fmla="*/ 66371 h 1680671"/>
              <a:gd name="connsiteX9" fmla="*/ 191690 w 6978130"/>
              <a:gd name="connsiteY9" fmla="*/ 66371 h 1680671"/>
              <a:gd name="connsiteX10" fmla="*/ 191690 w 6978130"/>
              <a:gd name="connsiteY10" fmla="*/ 97810 h 1680671"/>
              <a:gd name="connsiteX11" fmla="*/ 216143 w 6978130"/>
              <a:gd name="connsiteY11" fmla="*/ 97810 h 1680671"/>
              <a:gd name="connsiteX12" fmla="*/ 216143 w 6978130"/>
              <a:gd name="connsiteY12" fmla="*/ 112219 h 1680671"/>
              <a:gd name="connsiteX13" fmla="*/ 246272 w 6978130"/>
              <a:gd name="connsiteY13" fmla="*/ 112219 h 1680671"/>
              <a:gd name="connsiteX14" fmla="*/ 246272 w 6978130"/>
              <a:gd name="connsiteY14" fmla="*/ 128376 h 1680671"/>
              <a:gd name="connsiteX15" fmla="*/ 254568 w 6978130"/>
              <a:gd name="connsiteY15" fmla="*/ 128376 h 1680671"/>
              <a:gd name="connsiteX16" fmla="*/ 254568 w 6978130"/>
              <a:gd name="connsiteY16" fmla="*/ 161561 h 1680671"/>
              <a:gd name="connsiteX17" fmla="*/ 292120 w 6978130"/>
              <a:gd name="connsiteY17" fmla="*/ 161561 h 1680671"/>
              <a:gd name="connsiteX18" fmla="*/ 292120 w 6978130"/>
              <a:gd name="connsiteY18" fmla="*/ 177717 h 1680671"/>
              <a:gd name="connsiteX19" fmla="*/ 320502 w 6978130"/>
              <a:gd name="connsiteY19" fmla="*/ 177717 h 1680671"/>
              <a:gd name="connsiteX20" fmla="*/ 320502 w 6978130"/>
              <a:gd name="connsiteY20" fmla="*/ 193000 h 1680671"/>
              <a:gd name="connsiteX21" fmla="*/ 348885 w 6978130"/>
              <a:gd name="connsiteY21" fmla="*/ 193000 h 1680671"/>
              <a:gd name="connsiteX22" fmla="*/ 348885 w 6978130"/>
              <a:gd name="connsiteY22" fmla="*/ 227932 h 1680671"/>
              <a:gd name="connsiteX23" fmla="*/ 358928 w 6978130"/>
              <a:gd name="connsiteY23" fmla="*/ 227932 h 1680671"/>
              <a:gd name="connsiteX24" fmla="*/ 358928 w 6978130"/>
              <a:gd name="connsiteY24" fmla="*/ 243652 h 1680671"/>
              <a:gd name="connsiteX25" fmla="*/ 461104 w 6978130"/>
              <a:gd name="connsiteY25" fmla="*/ 243652 h 1680671"/>
              <a:gd name="connsiteX26" fmla="*/ 461104 w 6978130"/>
              <a:gd name="connsiteY26" fmla="*/ 258934 h 1680671"/>
              <a:gd name="connsiteX27" fmla="*/ 499966 w 6978130"/>
              <a:gd name="connsiteY27" fmla="*/ 258934 h 1680671"/>
              <a:gd name="connsiteX28" fmla="*/ 499966 w 6978130"/>
              <a:gd name="connsiteY28" fmla="*/ 310023 h 1680671"/>
              <a:gd name="connsiteX29" fmla="*/ 505206 w 6978130"/>
              <a:gd name="connsiteY29" fmla="*/ 310023 h 1680671"/>
              <a:gd name="connsiteX30" fmla="*/ 505206 w 6978130"/>
              <a:gd name="connsiteY30" fmla="*/ 327052 h 1680671"/>
              <a:gd name="connsiteX31" fmla="*/ 510009 w 6978130"/>
              <a:gd name="connsiteY31" fmla="*/ 327052 h 1680671"/>
              <a:gd name="connsiteX32" fmla="*/ 510009 w 6978130"/>
              <a:gd name="connsiteY32" fmla="*/ 344081 h 1680671"/>
              <a:gd name="connsiteX33" fmla="*/ 514376 w 6978130"/>
              <a:gd name="connsiteY33" fmla="*/ 344081 h 1680671"/>
              <a:gd name="connsiteX34" fmla="*/ 514376 w 6978130"/>
              <a:gd name="connsiteY34" fmla="*/ 379014 h 1680671"/>
              <a:gd name="connsiteX35" fmla="*/ 604326 w 6978130"/>
              <a:gd name="connsiteY35" fmla="*/ 379014 h 1680671"/>
              <a:gd name="connsiteX36" fmla="*/ 604326 w 6978130"/>
              <a:gd name="connsiteY36" fmla="*/ 393423 h 1680671"/>
              <a:gd name="connsiteX37" fmla="*/ 661527 w 6978130"/>
              <a:gd name="connsiteY37" fmla="*/ 393423 h 1680671"/>
              <a:gd name="connsiteX38" fmla="*/ 661527 w 6978130"/>
              <a:gd name="connsiteY38" fmla="*/ 411326 h 1680671"/>
              <a:gd name="connsiteX39" fmla="*/ 688600 w 6978130"/>
              <a:gd name="connsiteY39" fmla="*/ 411326 h 1680671"/>
              <a:gd name="connsiteX40" fmla="*/ 688600 w 6978130"/>
              <a:gd name="connsiteY40" fmla="*/ 429665 h 1680671"/>
              <a:gd name="connsiteX41" fmla="*/ 712179 w 6978130"/>
              <a:gd name="connsiteY41" fmla="*/ 429665 h 1680671"/>
              <a:gd name="connsiteX42" fmla="*/ 712179 w 6978130"/>
              <a:gd name="connsiteY42" fmla="*/ 448441 h 1680671"/>
              <a:gd name="connsiteX43" fmla="*/ 792960 w 6978130"/>
              <a:gd name="connsiteY43" fmla="*/ 448441 h 1680671"/>
              <a:gd name="connsiteX44" fmla="*/ 792960 w 6978130"/>
              <a:gd name="connsiteY44" fmla="*/ 464597 h 1680671"/>
              <a:gd name="connsiteX45" fmla="*/ 809116 w 6978130"/>
              <a:gd name="connsiteY45" fmla="*/ 464597 h 1680671"/>
              <a:gd name="connsiteX46" fmla="*/ 809116 w 6978130"/>
              <a:gd name="connsiteY46" fmla="*/ 481627 h 1680671"/>
              <a:gd name="connsiteX47" fmla="*/ 833131 w 6978130"/>
              <a:gd name="connsiteY47" fmla="*/ 481627 h 1680671"/>
              <a:gd name="connsiteX48" fmla="*/ 833131 w 6978130"/>
              <a:gd name="connsiteY48" fmla="*/ 499529 h 1680671"/>
              <a:gd name="connsiteX49" fmla="*/ 846231 w 6978130"/>
              <a:gd name="connsiteY49" fmla="*/ 499529 h 1680671"/>
              <a:gd name="connsiteX50" fmla="*/ 846231 w 6978130"/>
              <a:gd name="connsiteY50" fmla="*/ 534898 h 1680671"/>
              <a:gd name="connsiteX51" fmla="*/ 870247 w 6978130"/>
              <a:gd name="connsiteY51" fmla="*/ 534898 h 1680671"/>
              <a:gd name="connsiteX52" fmla="*/ 870247 w 6978130"/>
              <a:gd name="connsiteY52" fmla="*/ 553674 h 1680671"/>
              <a:gd name="connsiteX53" fmla="*/ 989889 w 6978130"/>
              <a:gd name="connsiteY53" fmla="*/ 553674 h 1680671"/>
              <a:gd name="connsiteX54" fmla="*/ 989889 w 6978130"/>
              <a:gd name="connsiteY54" fmla="*/ 571140 h 1680671"/>
              <a:gd name="connsiteX55" fmla="*/ 1001242 w 6978130"/>
              <a:gd name="connsiteY55" fmla="*/ 571140 h 1680671"/>
              <a:gd name="connsiteX56" fmla="*/ 1001242 w 6978130"/>
              <a:gd name="connsiteY56" fmla="*/ 625722 h 1680671"/>
              <a:gd name="connsiteX57" fmla="*/ 1107349 w 6978130"/>
              <a:gd name="connsiteY57" fmla="*/ 625722 h 1680671"/>
              <a:gd name="connsiteX58" fmla="*/ 1107349 w 6978130"/>
              <a:gd name="connsiteY58" fmla="*/ 641441 h 1680671"/>
              <a:gd name="connsiteX59" fmla="*/ 1119138 w 6978130"/>
              <a:gd name="connsiteY59" fmla="*/ 641441 h 1680671"/>
              <a:gd name="connsiteX60" fmla="*/ 1119138 w 6978130"/>
              <a:gd name="connsiteY60" fmla="*/ 660217 h 1680671"/>
              <a:gd name="connsiteX61" fmla="*/ 1154507 w 6978130"/>
              <a:gd name="connsiteY61" fmla="*/ 660217 h 1680671"/>
              <a:gd name="connsiteX62" fmla="*/ 1154507 w 6978130"/>
              <a:gd name="connsiteY62" fmla="*/ 696023 h 1680671"/>
              <a:gd name="connsiteX63" fmla="*/ 1161057 w 6978130"/>
              <a:gd name="connsiteY63" fmla="*/ 696023 h 1680671"/>
              <a:gd name="connsiteX64" fmla="*/ 1161057 w 6978130"/>
              <a:gd name="connsiteY64" fmla="*/ 715235 h 1680671"/>
              <a:gd name="connsiteX65" fmla="*/ 1166733 w 6978130"/>
              <a:gd name="connsiteY65" fmla="*/ 715235 h 1680671"/>
              <a:gd name="connsiteX66" fmla="*/ 1166733 w 6978130"/>
              <a:gd name="connsiteY66" fmla="*/ 732265 h 1680671"/>
              <a:gd name="connsiteX67" fmla="*/ 1179833 w 6978130"/>
              <a:gd name="connsiteY67" fmla="*/ 732265 h 1680671"/>
              <a:gd name="connsiteX68" fmla="*/ 1179833 w 6978130"/>
              <a:gd name="connsiteY68" fmla="*/ 749731 h 1680671"/>
              <a:gd name="connsiteX69" fmla="*/ 1206905 w 6978130"/>
              <a:gd name="connsiteY69" fmla="*/ 749731 h 1680671"/>
              <a:gd name="connsiteX70" fmla="*/ 1206905 w 6978130"/>
              <a:gd name="connsiteY70" fmla="*/ 768507 h 1680671"/>
              <a:gd name="connsiteX71" fmla="*/ 1295982 w 6978130"/>
              <a:gd name="connsiteY71" fmla="*/ 768507 h 1680671"/>
              <a:gd name="connsiteX72" fmla="*/ 1295982 w 6978130"/>
              <a:gd name="connsiteY72" fmla="*/ 784226 h 1680671"/>
              <a:gd name="connsiteX73" fmla="*/ 1323491 w 6978130"/>
              <a:gd name="connsiteY73" fmla="*/ 784226 h 1680671"/>
              <a:gd name="connsiteX74" fmla="*/ 1323491 w 6978130"/>
              <a:gd name="connsiteY74" fmla="*/ 803002 h 1680671"/>
              <a:gd name="connsiteX75" fmla="*/ 1331788 w 6978130"/>
              <a:gd name="connsiteY75" fmla="*/ 803002 h 1680671"/>
              <a:gd name="connsiteX76" fmla="*/ 1331788 w 6978130"/>
              <a:gd name="connsiteY76" fmla="*/ 823525 h 1680671"/>
              <a:gd name="connsiteX77" fmla="*/ 1344887 w 6978130"/>
              <a:gd name="connsiteY77" fmla="*/ 823525 h 1680671"/>
              <a:gd name="connsiteX78" fmla="*/ 1344887 w 6978130"/>
              <a:gd name="connsiteY78" fmla="*/ 839681 h 1680671"/>
              <a:gd name="connsiteX79" fmla="*/ 1484616 w 6978130"/>
              <a:gd name="connsiteY79" fmla="*/ 839681 h 1680671"/>
              <a:gd name="connsiteX80" fmla="*/ 1484616 w 6978130"/>
              <a:gd name="connsiteY80" fmla="*/ 859330 h 1680671"/>
              <a:gd name="connsiteX81" fmla="*/ 1510378 w 6978130"/>
              <a:gd name="connsiteY81" fmla="*/ 859330 h 1680671"/>
              <a:gd name="connsiteX82" fmla="*/ 1510378 w 6978130"/>
              <a:gd name="connsiteY82" fmla="*/ 880290 h 1680671"/>
              <a:gd name="connsiteX83" fmla="*/ 1540071 w 6978130"/>
              <a:gd name="connsiteY83" fmla="*/ 880290 h 1680671"/>
              <a:gd name="connsiteX84" fmla="*/ 1540071 w 6978130"/>
              <a:gd name="connsiteY84" fmla="*/ 898629 h 1680671"/>
              <a:gd name="connsiteX85" fmla="*/ 1628274 w 6978130"/>
              <a:gd name="connsiteY85" fmla="*/ 898629 h 1680671"/>
              <a:gd name="connsiteX86" fmla="*/ 1628274 w 6978130"/>
              <a:gd name="connsiteY86" fmla="*/ 918715 h 1680671"/>
              <a:gd name="connsiteX87" fmla="*/ 1635261 w 6978130"/>
              <a:gd name="connsiteY87" fmla="*/ 918715 h 1680671"/>
              <a:gd name="connsiteX88" fmla="*/ 1635261 w 6978130"/>
              <a:gd name="connsiteY88" fmla="*/ 939674 h 1680671"/>
              <a:gd name="connsiteX89" fmla="*/ 1654037 w 6978130"/>
              <a:gd name="connsiteY89" fmla="*/ 939674 h 1680671"/>
              <a:gd name="connsiteX90" fmla="*/ 1654037 w 6978130"/>
              <a:gd name="connsiteY90" fmla="*/ 960633 h 1680671"/>
              <a:gd name="connsiteX91" fmla="*/ 1660150 w 6978130"/>
              <a:gd name="connsiteY91" fmla="*/ 960633 h 1680671"/>
              <a:gd name="connsiteX92" fmla="*/ 1660150 w 6978130"/>
              <a:gd name="connsiteY92" fmla="*/ 979846 h 1680671"/>
              <a:gd name="connsiteX93" fmla="*/ 1666699 w 6978130"/>
              <a:gd name="connsiteY93" fmla="*/ 979846 h 1680671"/>
              <a:gd name="connsiteX94" fmla="*/ 1666699 w 6978130"/>
              <a:gd name="connsiteY94" fmla="*/ 1019581 h 1680671"/>
              <a:gd name="connsiteX95" fmla="*/ 1747480 w 6978130"/>
              <a:gd name="connsiteY95" fmla="*/ 1019581 h 1680671"/>
              <a:gd name="connsiteX96" fmla="*/ 1747480 w 6978130"/>
              <a:gd name="connsiteY96" fmla="*/ 1040541 h 1680671"/>
              <a:gd name="connsiteX97" fmla="*/ 1822584 w 6978130"/>
              <a:gd name="connsiteY97" fmla="*/ 1040541 h 1680671"/>
              <a:gd name="connsiteX98" fmla="*/ 1822584 w 6978130"/>
              <a:gd name="connsiteY98" fmla="*/ 1061063 h 1680671"/>
              <a:gd name="connsiteX99" fmla="*/ 1830444 w 6978130"/>
              <a:gd name="connsiteY99" fmla="*/ 1061063 h 1680671"/>
              <a:gd name="connsiteX100" fmla="*/ 1830444 w 6978130"/>
              <a:gd name="connsiteY100" fmla="*/ 1081586 h 1680671"/>
              <a:gd name="connsiteX101" fmla="*/ 1865813 w 6978130"/>
              <a:gd name="connsiteY101" fmla="*/ 1081586 h 1680671"/>
              <a:gd name="connsiteX102" fmla="*/ 1865813 w 6978130"/>
              <a:gd name="connsiteY102" fmla="*/ 1102982 h 1680671"/>
              <a:gd name="connsiteX103" fmla="*/ 2238713 w 6978130"/>
              <a:gd name="connsiteY103" fmla="*/ 1102982 h 1680671"/>
              <a:gd name="connsiteX104" fmla="*/ 2238713 w 6978130"/>
              <a:gd name="connsiteY104" fmla="*/ 1124378 h 1680671"/>
              <a:gd name="connsiteX105" fmla="*/ 2280195 w 6978130"/>
              <a:gd name="connsiteY105" fmla="*/ 1124378 h 1680671"/>
              <a:gd name="connsiteX106" fmla="*/ 2280195 w 6978130"/>
              <a:gd name="connsiteY106" fmla="*/ 1145337 h 1680671"/>
              <a:gd name="connsiteX107" fmla="*/ 2350059 w 6978130"/>
              <a:gd name="connsiteY107" fmla="*/ 1145337 h 1680671"/>
              <a:gd name="connsiteX108" fmla="*/ 2350059 w 6978130"/>
              <a:gd name="connsiteY108" fmla="*/ 1167170 h 1680671"/>
              <a:gd name="connsiteX109" fmla="*/ 2499394 w 6978130"/>
              <a:gd name="connsiteY109" fmla="*/ 1167170 h 1680671"/>
              <a:gd name="connsiteX110" fmla="*/ 2499394 w 6978130"/>
              <a:gd name="connsiteY110" fmla="*/ 1189875 h 1680671"/>
              <a:gd name="connsiteX111" fmla="*/ 2650476 w 6978130"/>
              <a:gd name="connsiteY111" fmla="*/ 1189875 h 1680671"/>
              <a:gd name="connsiteX112" fmla="*/ 2650476 w 6978130"/>
              <a:gd name="connsiteY112" fmla="*/ 1213018 h 1680671"/>
              <a:gd name="connsiteX113" fmla="*/ 2659646 w 6978130"/>
              <a:gd name="connsiteY113" fmla="*/ 1213018 h 1680671"/>
              <a:gd name="connsiteX114" fmla="*/ 2659646 w 6978130"/>
              <a:gd name="connsiteY114" fmla="*/ 1237034 h 1680671"/>
              <a:gd name="connsiteX115" fmla="*/ 3082761 w 6978130"/>
              <a:gd name="connsiteY115" fmla="*/ 1237034 h 1680671"/>
              <a:gd name="connsiteX116" fmla="*/ 3082761 w 6978130"/>
              <a:gd name="connsiteY116" fmla="*/ 1261923 h 1680671"/>
              <a:gd name="connsiteX117" fmla="*/ 3162668 w 6978130"/>
              <a:gd name="connsiteY117" fmla="*/ 1261923 h 1680671"/>
              <a:gd name="connsiteX118" fmla="*/ 3162668 w 6978130"/>
              <a:gd name="connsiteY118" fmla="*/ 1288559 h 1680671"/>
              <a:gd name="connsiteX119" fmla="*/ 3316370 w 6978130"/>
              <a:gd name="connsiteY119" fmla="*/ 1288559 h 1680671"/>
              <a:gd name="connsiteX120" fmla="*/ 3316370 w 6978130"/>
              <a:gd name="connsiteY120" fmla="*/ 1316504 h 1680671"/>
              <a:gd name="connsiteX121" fmla="*/ 3332526 w 6978130"/>
              <a:gd name="connsiteY121" fmla="*/ 1316504 h 1680671"/>
              <a:gd name="connsiteX122" fmla="*/ 3332526 w 6978130"/>
              <a:gd name="connsiteY122" fmla="*/ 1344887 h 1680671"/>
              <a:gd name="connsiteX123" fmla="*/ 3339949 w 6978130"/>
              <a:gd name="connsiteY123" fmla="*/ 1344887 h 1680671"/>
              <a:gd name="connsiteX124" fmla="*/ 3339949 w 6978130"/>
              <a:gd name="connsiteY124" fmla="*/ 1374142 h 1680671"/>
              <a:gd name="connsiteX125" fmla="*/ 3426406 w 6978130"/>
              <a:gd name="connsiteY125" fmla="*/ 1374142 h 1680671"/>
              <a:gd name="connsiteX126" fmla="*/ 3426406 w 6978130"/>
              <a:gd name="connsiteY126" fmla="*/ 1402961 h 1680671"/>
              <a:gd name="connsiteX127" fmla="*/ 3485354 w 6978130"/>
              <a:gd name="connsiteY127" fmla="*/ 1402961 h 1680671"/>
              <a:gd name="connsiteX128" fmla="*/ 3485354 w 6978130"/>
              <a:gd name="connsiteY128" fmla="*/ 1435710 h 1680671"/>
              <a:gd name="connsiteX129" fmla="*/ 3562641 w 6978130"/>
              <a:gd name="connsiteY129" fmla="*/ 1435710 h 1680671"/>
              <a:gd name="connsiteX130" fmla="*/ 3562641 w 6978130"/>
              <a:gd name="connsiteY130" fmla="*/ 1467586 h 1680671"/>
              <a:gd name="connsiteX131" fmla="*/ 3646915 w 6978130"/>
              <a:gd name="connsiteY131" fmla="*/ 1467586 h 1680671"/>
              <a:gd name="connsiteX132" fmla="*/ 3646915 w 6978130"/>
              <a:gd name="connsiteY132" fmla="*/ 1499462 h 1680671"/>
              <a:gd name="connsiteX133" fmla="*/ 4542488 w 6978130"/>
              <a:gd name="connsiteY133" fmla="*/ 1499462 h 1680671"/>
              <a:gd name="connsiteX134" fmla="*/ 4542488 w 6978130"/>
              <a:gd name="connsiteY134" fmla="*/ 1541817 h 1680671"/>
              <a:gd name="connsiteX135" fmla="*/ 4936784 w 6978130"/>
              <a:gd name="connsiteY135" fmla="*/ 1541817 h 1680671"/>
              <a:gd name="connsiteX136" fmla="*/ 4936784 w 6978130"/>
              <a:gd name="connsiteY136" fmla="*/ 1596398 h 1680671"/>
              <a:gd name="connsiteX137" fmla="*/ 5154237 w 6978130"/>
              <a:gd name="connsiteY137" fmla="*/ 1596398 h 1680671"/>
              <a:gd name="connsiteX138" fmla="*/ 5154237 w 6978130"/>
              <a:gd name="connsiteY138" fmla="*/ 1680672 h 1680671"/>
              <a:gd name="connsiteX139" fmla="*/ 6978131 w 6978130"/>
              <a:gd name="connsiteY139" fmla="*/ 1680672 h 1680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6978130" h="1680671">
                <a:moveTo>
                  <a:pt x="0" y="0"/>
                </a:moveTo>
                <a:lnTo>
                  <a:pt x="12226" y="0"/>
                </a:lnTo>
                <a:lnTo>
                  <a:pt x="12226" y="13973"/>
                </a:lnTo>
                <a:lnTo>
                  <a:pt x="30129" y="13973"/>
                </a:lnTo>
                <a:lnTo>
                  <a:pt x="30129" y="31439"/>
                </a:lnTo>
                <a:lnTo>
                  <a:pt x="77724" y="31439"/>
                </a:lnTo>
                <a:lnTo>
                  <a:pt x="77724" y="47158"/>
                </a:lnTo>
                <a:lnTo>
                  <a:pt x="141039" y="47158"/>
                </a:lnTo>
                <a:lnTo>
                  <a:pt x="141039" y="66371"/>
                </a:lnTo>
                <a:lnTo>
                  <a:pt x="191690" y="66371"/>
                </a:lnTo>
                <a:lnTo>
                  <a:pt x="191690" y="97810"/>
                </a:lnTo>
                <a:lnTo>
                  <a:pt x="216143" y="97810"/>
                </a:lnTo>
                <a:lnTo>
                  <a:pt x="216143" y="112219"/>
                </a:lnTo>
                <a:lnTo>
                  <a:pt x="246272" y="112219"/>
                </a:lnTo>
                <a:lnTo>
                  <a:pt x="246272" y="128376"/>
                </a:lnTo>
                <a:lnTo>
                  <a:pt x="254568" y="128376"/>
                </a:lnTo>
                <a:lnTo>
                  <a:pt x="254568" y="161561"/>
                </a:lnTo>
                <a:lnTo>
                  <a:pt x="292120" y="161561"/>
                </a:lnTo>
                <a:lnTo>
                  <a:pt x="292120" y="177717"/>
                </a:lnTo>
                <a:lnTo>
                  <a:pt x="320502" y="177717"/>
                </a:lnTo>
                <a:lnTo>
                  <a:pt x="320502" y="193000"/>
                </a:lnTo>
                <a:lnTo>
                  <a:pt x="348885" y="193000"/>
                </a:lnTo>
                <a:lnTo>
                  <a:pt x="348885" y="227932"/>
                </a:lnTo>
                <a:lnTo>
                  <a:pt x="358928" y="227932"/>
                </a:lnTo>
                <a:lnTo>
                  <a:pt x="358928" y="243652"/>
                </a:lnTo>
                <a:lnTo>
                  <a:pt x="461104" y="243652"/>
                </a:lnTo>
                <a:lnTo>
                  <a:pt x="461104" y="258934"/>
                </a:lnTo>
                <a:lnTo>
                  <a:pt x="499966" y="258934"/>
                </a:lnTo>
                <a:lnTo>
                  <a:pt x="499966" y="310023"/>
                </a:lnTo>
                <a:lnTo>
                  <a:pt x="505206" y="310023"/>
                </a:lnTo>
                <a:lnTo>
                  <a:pt x="505206" y="327052"/>
                </a:lnTo>
                <a:lnTo>
                  <a:pt x="510009" y="327052"/>
                </a:lnTo>
                <a:lnTo>
                  <a:pt x="510009" y="344081"/>
                </a:lnTo>
                <a:lnTo>
                  <a:pt x="514376" y="344081"/>
                </a:lnTo>
                <a:lnTo>
                  <a:pt x="514376" y="379014"/>
                </a:lnTo>
                <a:lnTo>
                  <a:pt x="604326" y="379014"/>
                </a:lnTo>
                <a:lnTo>
                  <a:pt x="604326" y="393423"/>
                </a:lnTo>
                <a:lnTo>
                  <a:pt x="661527" y="393423"/>
                </a:lnTo>
                <a:lnTo>
                  <a:pt x="661527" y="411326"/>
                </a:lnTo>
                <a:lnTo>
                  <a:pt x="688600" y="411326"/>
                </a:lnTo>
                <a:lnTo>
                  <a:pt x="688600" y="429665"/>
                </a:lnTo>
                <a:lnTo>
                  <a:pt x="712179" y="429665"/>
                </a:lnTo>
                <a:lnTo>
                  <a:pt x="712179" y="448441"/>
                </a:lnTo>
                <a:lnTo>
                  <a:pt x="792960" y="448441"/>
                </a:lnTo>
                <a:lnTo>
                  <a:pt x="792960" y="464597"/>
                </a:lnTo>
                <a:lnTo>
                  <a:pt x="809116" y="464597"/>
                </a:lnTo>
                <a:lnTo>
                  <a:pt x="809116" y="481627"/>
                </a:lnTo>
                <a:lnTo>
                  <a:pt x="833131" y="481627"/>
                </a:lnTo>
                <a:lnTo>
                  <a:pt x="833131" y="499529"/>
                </a:lnTo>
                <a:lnTo>
                  <a:pt x="846231" y="499529"/>
                </a:lnTo>
                <a:lnTo>
                  <a:pt x="846231" y="534898"/>
                </a:lnTo>
                <a:lnTo>
                  <a:pt x="870247" y="534898"/>
                </a:lnTo>
                <a:lnTo>
                  <a:pt x="870247" y="553674"/>
                </a:lnTo>
                <a:lnTo>
                  <a:pt x="989889" y="553674"/>
                </a:lnTo>
                <a:lnTo>
                  <a:pt x="989889" y="571140"/>
                </a:lnTo>
                <a:lnTo>
                  <a:pt x="1001242" y="571140"/>
                </a:lnTo>
                <a:lnTo>
                  <a:pt x="1001242" y="625722"/>
                </a:lnTo>
                <a:lnTo>
                  <a:pt x="1107349" y="625722"/>
                </a:lnTo>
                <a:lnTo>
                  <a:pt x="1107349" y="641441"/>
                </a:lnTo>
                <a:lnTo>
                  <a:pt x="1119138" y="641441"/>
                </a:lnTo>
                <a:lnTo>
                  <a:pt x="1119138" y="660217"/>
                </a:lnTo>
                <a:lnTo>
                  <a:pt x="1154507" y="660217"/>
                </a:lnTo>
                <a:lnTo>
                  <a:pt x="1154507" y="696023"/>
                </a:lnTo>
                <a:lnTo>
                  <a:pt x="1161057" y="696023"/>
                </a:lnTo>
                <a:lnTo>
                  <a:pt x="1161057" y="715235"/>
                </a:lnTo>
                <a:lnTo>
                  <a:pt x="1166733" y="715235"/>
                </a:lnTo>
                <a:lnTo>
                  <a:pt x="1166733" y="732265"/>
                </a:lnTo>
                <a:lnTo>
                  <a:pt x="1179833" y="732265"/>
                </a:lnTo>
                <a:lnTo>
                  <a:pt x="1179833" y="749731"/>
                </a:lnTo>
                <a:lnTo>
                  <a:pt x="1206905" y="749731"/>
                </a:lnTo>
                <a:lnTo>
                  <a:pt x="1206905" y="768507"/>
                </a:lnTo>
                <a:lnTo>
                  <a:pt x="1295982" y="768507"/>
                </a:lnTo>
                <a:lnTo>
                  <a:pt x="1295982" y="784226"/>
                </a:lnTo>
                <a:lnTo>
                  <a:pt x="1323491" y="784226"/>
                </a:lnTo>
                <a:lnTo>
                  <a:pt x="1323491" y="803002"/>
                </a:lnTo>
                <a:lnTo>
                  <a:pt x="1331788" y="803002"/>
                </a:lnTo>
                <a:lnTo>
                  <a:pt x="1331788" y="823525"/>
                </a:lnTo>
                <a:lnTo>
                  <a:pt x="1344887" y="823525"/>
                </a:lnTo>
                <a:lnTo>
                  <a:pt x="1344887" y="839681"/>
                </a:lnTo>
                <a:lnTo>
                  <a:pt x="1484616" y="839681"/>
                </a:lnTo>
                <a:lnTo>
                  <a:pt x="1484616" y="859330"/>
                </a:lnTo>
                <a:lnTo>
                  <a:pt x="1510378" y="859330"/>
                </a:lnTo>
                <a:lnTo>
                  <a:pt x="1510378" y="880290"/>
                </a:lnTo>
                <a:lnTo>
                  <a:pt x="1540071" y="880290"/>
                </a:lnTo>
                <a:lnTo>
                  <a:pt x="1540071" y="898629"/>
                </a:lnTo>
                <a:lnTo>
                  <a:pt x="1628274" y="898629"/>
                </a:lnTo>
                <a:lnTo>
                  <a:pt x="1628274" y="918715"/>
                </a:lnTo>
                <a:lnTo>
                  <a:pt x="1635261" y="918715"/>
                </a:lnTo>
                <a:lnTo>
                  <a:pt x="1635261" y="939674"/>
                </a:lnTo>
                <a:lnTo>
                  <a:pt x="1654037" y="939674"/>
                </a:lnTo>
                <a:lnTo>
                  <a:pt x="1654037" y="960633"/>
                </a:lnTo>
                <a:lnTo>
                  <a:pt x="1660150" y="960633"/>
                </a:lnTo>
                <a:lnTo>
                  <a:pt x="1660150" y="979846"/>
                </a:lnTo>
                <a:lnTo>
                  <a:pt x="1666699" y="979846"/>
                </a:lnTo>
                <a:lnTo>
                  <a:pt x="1666699" y="1019581"/>
                </a:lnTo>
                <a:lnTo>
                  <a:pt x="1747480" y="1019581"/>
                </a:lnTo>
                <a:lnTo>
                  <a:pt x="1747480" y="1040541"/>
                </a:lnTo>
                <a:lnTo>
                  <a:pt x="1822584" y="1040541"/>
                </a:lnTo>
                <a:lnTo>
                  <a:pt x="1822584" y="1061063"/>
                </a:lnTo>
                <a:lnTo>
                  <a:pt x="1830444" y="1061063"/>
                </a:lnTo>
                <a:lnTo>
                  <a:pt x="1830444" y="1081586"/>
                </a:lnTo>
                <a:lnTo>
                  <a:pt x="1865813" y="1081586"/>
                </a:lnTo>
                <a:lnTo>
                  <a:pt x="1865813" y="1102982"/>
                </a:lnTo>
                <a:lnTo>
                  <a:pt x="2238713" y="1102982"/>
                </a:lnTo>
                <a:lnTo>
                  <a:pt x="2238713" y="1124378"/>
                </a:lnTo>
                <a:lnTo>
                  <a:pt x="2280195" y="1124378"/>
                </a:lnTo>
                <a:lnTo>
                  <a:pt x="2280195" y="1145337"/>
                </a:lnTo>
                <a:lnTo>
                  <a:pt x="2350059" y="1145337"/>
                </a:lnTo>
                <a:lnTo>
                  <a:pt x="2350059" y="1167170"/>
                </a:lnTo>
                <a:lnTo>
                  <a:pt x="2499394" y="1167170"/>
                </a:lnTo>
                <a:lnTo>
                  <a:pt x="2499394" y="1189875"/>
                </a:lnTo>
                <a:lnTo>
                  <a:pt x="2650476" y="1189875"/>
                </a:lnTo>
                <a:lnTo>
                  <a:pt x="2650476" y="1213018"/>
                </a:lnTo>
                <a:lnTo>
                  <a:pt x="2659646" y="1213018"/>
                </a:lnTo>
                <a:lnTo>
                  <a:pt x="2659646" y="1237034"/>
                </a:lnTo>
                <a:lnTo>
                  <a:pt x="3082761" y="1237034"/>
                </a:lnTo>
                <a:lnTo>
                  <a:pt x="3082761" y="1261923"/>
                </a:lnTo>
                <a:lnTo>
                  <a:pt x="3162668" y="1261923"/>
                </a:lnTo>
                <a:lnTo>
                  <a:pt x="3162668" y="1288559"/>
                </a:lnTo>
                <a:lnTo>
                  <a:pt x="3316370" y="1288559"/>
                </a:lnTo>
                <a:lnTo>
                  <a:pt x="3316370" y="1316504"/>
                </a:lnTo>
                <a:lnTo>
                  <a:pt x="3332526" y="1316504"/>
                </a:lnTo>
                <a:lnTo>
                  <a:pt x="3332526" y="1344887"/>
                </a:lnTo>
                <a:lnTo>
                  <a:pt x="3339949" y="1344887"/>
                </a:lnTo>
                <a:lnTo>
                  <a:pt x="3339949" y="1374142"/>
                </a:lnTo>
                <a:lnTo>
                  <a:pt x="3426406" y="1374142"/>
                </a:lnTo>
                <a:lnTo>
                  <a:pt x="3426406" y="1402961"/>
                </a:lnTo>
                <a:lnTo>
                  <a:pt x="3485354" y="1402961"/>
                </a:lnTo>
                <a:lnTo>
                  <a:pt x="3485354" y="1435710"/>
                </a:lnTo>
                <a:lnTo>
                  <a:pt x="3562641" y="1435710"/>
                </a:lnTo>
                <a:lnTo>
                  <a:pt x="3562641" y="1467586"/>
                </a:lnTo>
                <a:lnTo>
                  <a:pt x="3646915" y="1467586"/>
                </a:lnTo>
                <a:lnTo>
                  <a:pt x="3646915" y="1499462"/>
                </a:lnTo>
                <a:lnTo>
                  <a:pt x="4542488" y="1499462"/>
                </a:lnTo>
                <a:lnTo>
                  <a:pt x="4542488" y="1541817"/>
                </a:lnTo>
                <a:lnTo>
                  <a:pt x="4936784" y="1541817"/>
                </a:lnTo>
                <a:lnTo>
                  <a:pt x="4936784" y="1596398"/>
                </a:lnTo>
                <a:lnTo>
                  <a:pt x="5154237" y="1596398"/>
                </a:lnTo>
                <a:lnTo>
                  <a:pt x="5154237" y="1680672"/>
                </a:lnTo>
                <a:lnTo>
                  <a:pt x="6978131" y="1680672"/>
                </a:lnTo>
              </a:path>
            </a:pathLst>
          </a:cu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" name="Freeform 284">
            <a:extLst>
              <a:ext uri="{FF2B5EF4-FFF2-40B4-BE49-F238E27FC236}">
                <a16:creationId xmlns:a16="http://schemas.microsoft.com/office/drawing/2014/main" id="{EBF57965-4331-96AD-EAE4-BF9AE227A358}"/>
              </a:ext>
            </a:extLst>
          </p:cNvPr>
          <p:cNvSpPr/>
          <p:nvPr/>
        </p:nvSpPr>
        <p:spPr>
          <a:xfrm>
            <a:off x="10913380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4" name="Freeform 285">
            <a:extLst>
              <a:ext uri="{FF2B5EF4-FFF2-40B4-BE49-F238E27FC236}">
                <a16:creationId xmlns:a16="http://schemas.microsoft.com/office/drawing/2014/main" id="{360B92A0-3383-FFC2-AF93-16009500CE02}"/>
              </a:ext>
            </a:extLst>
          </p:cNvPr>
          <p:cNvSpPr/>
          <p:nvPr/>
        </p:nvSpPr>
        <p:spPr>
          <a:xfrm>
            <a:off x="10847892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5" name="Freeform 287">
            <a:extLst>
              <a:ext uri="{FF2B5EF4-FFF2-40B4-BE49-F238E27FC236}">
                <a16:creationId xmlns:a16="http://schemas.microsoft.com/office/drawing/2014/main" id="{2FF522CF-8FEB-0817-3D57-9BC50448DC49}"/>
              </a:ext>
            </a:extLst>
          </p:cNvPr>
          <p:cNvSpPr/>
          <p:nvPr/>
        </p:nvSpPr>
        <p:spPr>
          <a:xfrm>
            <a:off x="10040583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6" name="Freeform 288">
            <a:extLst>
              <a:ext uri="{FF2B5EF4-FFF2-40B4-BE49-F238E27FC236}">
                <a16:creationId xmlns:a16="http://schemas.microsoft.com/office/drawing/2014/main" id="{9910D367-43F5-5700-E895-B01FEE213630}"/>
              </a:ext>
            </a:extLst>
          </p:cNvPr>
          <p:cNvSpPr/>
          <p:nvPr/>
        </p:nvSpPr>
        <p:spPr>
          <a:xfrm>
            <a:off x="9974546" y="3112910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" name="Freeform 290">
            <a:extLst>
              <a:ext uri="{FF2B5EF4-FFF2-40B4-BE49-F238E27FC236}">
                <a16:creationId xmlns:a16="http://schemas.microsoft.com/office/drawing/2014/main" id="{7A6B8663-21AD-9AD5-522F-0CC69FF18605}"/>
              </a:ext>
            </a:extLst>
          </p:cNvPr>
          <p:cNvSpPr/>
          <p:nvPr/>
        </p:nvSpPr>
        <p:spPr>
          <a:xfrm>
            <a:off x="9447896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8" name="Freeform 291">
            <a:extLst>
              <a:ext uri="{FF2B5EF4-FFF2-40B4-BE49-F238E27FC236}">
                <a16:creationId xmlns:a16="http://schemas.microsoft.com/office/drawing/2014/main" id="{2CEDCB68-A90F-79D9-2EF0-41B5054A5F19}"/>
              </a:ext>
            </a:extLst>
          </p:cNvPr>
          <p:cNvSpPr/>
          <p:nvPr/>
        </p:nvSpPr>
        <p:spPr>
          <a:xfrm>
            <a:off x="9382409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9" name="Freeform 293">
            <a:extLst>
              <a:ext uri="{FF2B5EF4-FFF2-40B4-BE49-F238E27FC236}">
                <a16:creationId xmlns:a16="http://schemas.microsoft.com/office/drawing/2014/main" id="{5518312D-5D8B-B8EF-72BE-E6F5D7BEA755}"/>
              </a:ext>
            </a:extLst>
          </p:cNvPr>
          <p:cNvSpPr/>
          <p:nvPr/>
        </p:nvSpPr>
        <p:spPr>
          <a:xfrm>
            <a:off x="9243180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0" name="Freeform 294">
            <a:extLst>
              <a:ext uri="{FF2B5EF4-FFF2-40B4-BE49-F238E27FC236}">
                <a16:creationId xmlns:a16="http://schemas.microsoft.com/office/drawing/2014/main" id="{9FE1DD4F-25C0-B49F-0EFA-BFDA27FC0F90}"/>
              </a:ext>
            </a:extLst>
          </p:cNvPr>
          <p:cNvSpPr/>
          <p:nvPr/>
        </p:nvSpPr>
        <p:spPr>
          <a:xfrm>
            <a:off x="9177692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1" name="Freeform 296">
            <a:extLst>
              <a:ext uri="{FF2B5EF4-FFF2-40B4-BE49-F238E27FC236}">
                <a16:creationId xmlns:a16="http://schemas.microsoft.com/office/drawing/2014/main" id="{3F77068F-C0AB-F2B6-9E8B-C0E21534A1FE}"/>
              </a:ext>
            </a:extLst>
          </p:cNvPr>
          <p:cNvSpPr/>
          <p:nvPr/>
        </p:nvSpPr>
        <p:spPr>
          <a:xfrm>
            <a:off x="9026907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2" name="Freeform 297">
            <a:extLst>
              <a:ext uri="{FF2B5EF4-FFF2-40B4-BE49-F238E27FC236}">
                <a16:creationId xmlns:a16="http://schemas.microsoft.com/office/drawing/2014/main" id="{96B28937-B135-BE17-598B-85F524C02C3F}"/>
              </a:ext>
            </a:extLst>
          </p:cNvPr>
          <p:cNvSpPr/>
          <p:nvPr/>
        </p:nvSpPr>
        <p:spPr>
          <a:xfrm>
            <a:off x="8960869" y="3112910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3" name="Freeform 299">
            <a:extLst>
              <a:ext uri="{FF2B5EF4-FFF2-40B4-BE49-F238E27FC236}">
                <a16:creationId xmlns:a16="http://schemas.microsoft.com/office/drawing/2014/main" id="{83F23C92-712E-C9FE-5A6D-284FFD999710}"/>
              </a:ext>
            </a:extLst>
          </p:cNvPr>
          <p:cNvSpPr/>
          <p:nvPr/>
        </p:nvSpPr>
        <p:spPr>
          <a:xfrm>
            <a:off x="8895381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4" name="Freeform 300">
            <a:extLst>
              <a:ext uri="{FF2B5EF4-FFF2-40B4-BE49-F238E27FC236}">
                <a16:creationId xmlns:a16="http://schemas.microsoft.com/office/drawing/2014/main" id="{ADC24604-67DC-E63F-FBF9-198B7D972C2A}"/>
              </a:ext>
            </a:extLst>
          </p:cNvPr>
          <p:cNvSpPr/>
          <p:nvPr/>
        </p:nvSpPr>
        <p:spPr>
          <a:xfrm>
            <a:off x="8829344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5" name="Freeform 302">
            <a:extLst>
              <a:ext uri="{FF2B5EF4-FFF2-40B4-BE49-F238E27FC236}">
                <a16:creationId xmlns:a16="http://schemas.microsoft.com/office/drawing/2014/main" id="{A20A96C0-322A-C18A-1515-06EA79B877D3}"/>
              </a:ext>
            </a:extLst>
          </p:cNvPr>
          <p:cNvSpPr/>
          <p:nvPr/>
        </p:nvSpPr>
        <p:spPr>
          <a:xfrm>
            <a:off x="8758354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6" name="Freeform 303">
            <a:extLst>
              <a:ext uri="{FF2B5EF4-FFF2-40B4-BE49-F238E27FC236}">
                <a16:creationId xmlns:a16="http://schemas.microsoft.com/office/drawing/2014/main" id="{C9D5612F-2928-E121-A278-3A94FCE58E33}"/>
              </a:ext>
            </a:extLst>
          </p:cNvPr>
          <p:cNvSpPr/>
          <p:nvPr/>
        </p:nvSpPr>
        <p:spPr>
          <a:xfrm>
            <a:off x="8692317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7" name="Freeform 305">
            <a:extLst>
              <a:ext uri="{FF2B5EF4-FFF2-40B4-BE49-F238E27FC236}">
                <a16:creationId xmlns:a16="http://schemas.microsoft.com/office/drawing/2014/main" id="{93803F26-0290-21FF-2265-7CBCAE41D010}"/>
              </a:ext>
            </a:extLst>
          </p:cNvPr>
          <p:cNvSpPr/>
          <p:nvPr/>
        </p:nvSpPr>
        <p:spPr>
          <a:xfrm>
            <a:off x="8603716" y="296523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8" name="Freeform 306">
            <a:extLst>
              <a:ext uri="{FF2B5EF4-FFF2-40B4-BE49-F238E27FC236}">
                <a16:creationId xmlns:a16="http://schemas.microsoft.com/office/drawing/2014/main" id="{15A6FB32-9F8A-38D3-1C68-A4ADA07290DA}"/>
              </a:ext>
            </a:extLst>
          </p:cNvPr>
          <p:cNvSpPr/>
          <p:nvPr/>
        </p:nvSpPr>
        <p:spPr>
          <a:xfrm>
            <a:off x="8538228" y="302156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9" name="Freeform 308">
            <a:extLst>
              <a:ext uri="{FF2B5EF4-FFF2-40B4-BE49-F238E27FC236}">
                <a16:creationId xmlns:a16="http://schemas.microsoft.com/office/drawing/2014/main" id="{4AC91D65-B601-B2E8-7C47-03399E679F02}"/>
              </a:ext>
            </a:extLst>
          </p:cNvPr>
          <p:cNvSpPr/>
          <p:nvPr/>
        </p:nvSpPr>
        <p:spPr>
          <a:xfrm>
            <a:off x="8385792" y="296523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0" name="Freeform 309">
            <a:extLst>
              <a:ext uri="{FF2B5EF4-FFF2-40B4-BE49-F238E27FC236}">
                <a16:creationId xmlns:a16="http://schemas.microsoft.com/office/drawing/2014/main" id="{4A902C42-F8DC-3418-761A-BE66BF064C64}"/>
              </a:ext>
            </a:extLst>
          </p:cNvPr>
          <p:cNvSpPr/>
          <p:nvPr/>
        </p:nvSpPr>
        <p:spPr>
          <a:xfrm>
            <a:off x="8319753" y="302156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1" name="Freeform 311">
            <a:extLst>
              <a:ext uri="{FF2B5EF4-FFF2-40B4-BE49-F238E27FC236}">
                <a16:creationId xmlns:a16="http://schemas.microsoft.com/office/drawing/2014/main" id="{61C2C394-27D5-4567-3C54-6F16E554313D}"/>
              </a:ext>
            </a:extLst>
          </p:cNvPr>
          <p:cNvSpPr/>
          <p:nvPr/>
        </p:nvSpPr>
        <p:spPr>
          <a:xfrm>
            <a:off x="8221248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2" name="Freeform 312">
            <a:extLst>
              <a:ext uri="{FF2B5EF4-FFF2-40B4-BE49-F238E27FC236}">
                <a16:creationId xmlns:a16="http://schemas.microsoft.com/office/drawing/2014/main" id="{9D0ECEEE-549E-062E-0860-F48A3F64D5DD}"/>
              </a:ext>
            </a:extLst>
          </p:cNvPr>
          <p:cNvSpPr/>
          <p:nvPr/>
        </p:nvSpPr>
        <p:spPr>
          <a:xfrm>
            <a:off x="8155211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3" name="Freeform 314">
            <a:extLst>
              <a:ext uri="{FF2B5EF4-FFF2-40B4-BE49-F238E27FC236}">
                <a16:creationId xmlns:a16="http://schemas.microsoft.com/office/drawing/2014/main" id="{5FEAAB91-FD09-563C-D24D-134A77394C7B}"/>
              </a:ext>
            </a:extLst>
          </p:cNvPr>
          <p:cNvSpPr/>
          <p:nvPr/>
        </p:nvSpPr>
        <p:spPr>
          <a:xfrm>
            <a:off x="8190981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4" name="Freeform 315">
            <a:extLst>
              <a:ext uri="{FF2B5EF4-FFF2-40B4-BE49-F238E27FC236}">
                <a16:creationId xmlns:a16="http://schemas.microsoft.com/office/drawing/2014/main" id="{05039EDB-6677-8AA1-7E95-E4739A3DD2A5}"/>
              </a:ext>
            </a:extLst>
          </p:cNvPr>
          <p:cNvSpPr/>
          <p:nvPr/>
        </p:nvSpPr>
        <p:spPr>
          <a:xfrm>
            <a:off x="8125493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5" name="Freeform 317">
            <a:extLst>
              <a:ext uri="{FF2B5EF4-FFF2-40B4-BE49-F238E27FC236}">
                <a16:creationId xmlns:a16="http://schemas.microsoft.com/office/drawing/2014/main" id="{BBB42E78-BCEF-C508-2092-DD603214DED2}"/>
              </a:ext>
            </a:extLst>
          </p:cNvPr>
          <p:cNvSpPr/>
          <p:nvPr/>
        </p:nvSpPr>
        <p:spPr>
          <a:xfrm>
            <a:off x="8184377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6" name="Freeform 318">
            <a:extLst>
              <a:ext uri="{FF2B5EF4-FFF2-40B4-BE49-F238E27FC236}">
                <a16:creationId xmlns:a16="http://schemas.microsoft.com/office/drawing/2014/main" id="{469199E9-CB15-B1EE-A1B9-F4CF02B6B434}"/>
              </a:ext>
            </a:extLst>
          </p:cNvPr>
          <p:cNvSpPr/>
          <p:nvPr/>
        </p:nvSpPr>
        <p:spPr>
          <a:xfrm>
            <a:off x="8118890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7" name="Freeform 320">
            <a:extLst>
              <a:ext uri="{FF2B5EF4-FFF2-40B4-BE49-F238E27FC236}">
                <a16:creationId xmlns:a16="http://schemas.microsoft.com/office/drawing/2014/main" id="{4403D729-1C18-43E6-DEBD-2E49943EA9F3}"/>
              </a:ext>
            </a:extLst>
          </p:cNvPr>
          <p:cNvSpPr/>
          <p:nvPr/>
        </p:nvSpPr>
        <p:spPr>
          <a:xfrm>
            <a:off x="8166217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8" name="Freeform 321">
            <a:extLst>
              <a:ext uri="{FF2B5EF4-FFF2-40B4-BE49-F238E27FC236}">
                <a16:creationId xmlns:a16="http://schemas.microsoft.com/office/drawing/2014/main" id="{A725AC52-505E-83A6-577F-DA070A2E4BEB}"/>
              </a:ext>
            </a:extLst>
          </p:cNvPr>
          <p:cNvSpPr/>
          <p:nvPr/>
        </p:nvSpPr>
        <p:spPr>
          <a:xfrm>
            <a:off x="8100729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9" name="Freeform 323">
            <a:extLst>
              <a:ext uri="{FF2B5EF4-FFF2-40B4-BE49-F238E27FC236}">
                <a16:creationId xmlns:a16="http://schemas.microsoft.com/office/drawing/2014/main" id="{30A5E57C-CF98-D988-67F7-15F7DF4D2318}"/>
              </a:ext>
            </a:extLst>
          </p:cNvPr>
          <p:cNvSpPr/>
          <p:nvPr/>
        </p:nvSpPr>
        <p:spPr>
          <a:xfrm>
            <a:off x="7345700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0" name="Freeform 324">
            <a:extLst>
              <a:ext uri="{FF2B5EF4-FFF2-40B4-BE49-F238E27FC236}">
                <a16:creationId xmlns:a16="http://schemas.microsoft.com/office/drawing/2014/main" id="{A3F90527-A131-95B6-B27D-1F536110A3DB}"/>
              </a:ext>
            </a:extLst>
          </p:cNvPr>
          <p:cNvSpPr/>
          <p:nvPr/>
        </p:nvSpPr>
        <p:spPr>
          <a:xfrm>
            <a:off x="7280212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1" name="Freeform 326">
            <a:extLst>
              <a:ext uri="{FF2B5EF4-FFF2-40B4-BE49-F238E27FC236}">
                <a16:creationId xmlns:a16="http://schemas.microsoft.com/office/drawing/2014/main" id="{4B69FD6D-01EF-1940-7EA4-FAE4EAB3303C}"/>
              </a:ext>
            </a:extLst>
          </p:cNvPr>
          <p:cNvSpPr/>
          <p:nvPr/>
        </p:nvSpPr>
        <p:spPr>
          <a:xfrm>
            <a:off x="7205920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2" name="Freeform 327">
            <a:extLst>
              <a:ext uri="{FF2B5EF4-FFF2-40B4-BE49-F238E27FC236}">
                <a16:creationId xmlns:a16="http://schemas.microsoft.com/office/drawing/2014/main" id="{3A188D5C-1DCA-45F4-CA92-EEA1245E07A0}"/>
              </a:ext>
            </a:extLst>
          </p:cNvPr>
          <p:cNvSpPr/>
          <p:nvPr/>
        </p:nvSpPr>
        <p:spPr>
          <a:xfrm>
            <a:off x="7139882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3" name="Freeform 329">
            <a:extLst>
              <a:ext uri="{FF2B5EF4-FFF2-40B4-BE49-F238E27FC236}">
                <a16:creationId xmlns:a16="http://schemas.microsoft.com/office/drawing/2014/main" id="{C19D4EFE-98D4-DFA6-9D1F-6CA1A91AC697}"/>
              </a:ext>
            </a:extLst>
          </p:cNvPr>
          <p:cNvSpPr/>
          <p:nvPr/>
        </p:nvSpPr>
        <p:spPr>
          <a:xfrm>
            <a:off x="7136580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4" name="Freeform 330">
            <a:extLst>
              <a:ext uri="{FF2B5EF4-FFF2-40B4-BE49-F238E27FC236}">
                <a16:creationId xmlns:a16="http://schemas.microsoft.com/office/drawing/2014/main" id="{AE24350B-A3EF-17EA-DAC9-37C0D91D271E}"/>
              </a:ext>
            </a:extLst>
          </p:cNvPr>
          <p:cNvSpPr/>
          <p:nvPr/>
        </p:nvSpPr>
        <p:spPr>
          <a:xfrm>
            <a:off x="7071094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5" name="Freeform 332">
            <a:extLst>
              <a:ext uri="{FF2B5EF4-FFF2-40B4-BE49-F238E27FC236}">
                <a16:creationId xmlns:a16="http://schemas.microsoft.com/office/drawing/2014/main" id="{A1E9CCE7-2DB9-27CE-6AD0-EB9DA5B95168}"/>
              </a:ext>
            </a:extLst>
          </p:cNvPr>
          <p:cNvSpPr/>
          <p:nvPr/>
        </p:nvSpPr>
        <p:spPr>
          <a:xfrm>
            <a:off x="6725497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6" name="Freeform 333">
            <a:extLst>
              <a:ext uri="{FF2B5EF4-FFF2-40B4-BE49-F238E27FC236}">
                <a16:creationId xmlns:a16="http://schemas.microsoft.com/office/drawing/2014/main" id="{E7954F66-6D53-B896-3F6A-F3864D4728DE}"/>
              </a:ext>
            </a:extLst>
          </p:cNvPr>
          <p:cNvSpPr/>
          <p:nvPr/>
        </p:nvSpPr>
        <p:spPr>
          <a:xfrm>
            <a:off x="6659459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7" name="Freeform 335">
            <a:extLst>
              <a:ext uri="{FF2B5EF4-FFF2-40B4-BE49-F238E27FC236}">
                <a16:creationId xmlns:a16="http://schemas.microsoft.com/office/drawing/2014/main" id="{953ACE09-4AB3-1DD1-D117-2F82ACE4FF77}"/>
              </a:ext>
            </a:extLst>
          </p:cNvPr>
          <p:cNvSpPr/>
          <p:nvPr/>
        </p:nvSpPr>
        <p:spPr>
          <a:xfrm>
            <a:off x="6501519" y="275556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8" name="Freeform 336">
            <a:extLst>
              <a:ext uri="{FF2B5EF4-FFF2-40B4-BE49-F238E27FC236}">
                <a16:creationId xmlns:a16="http://schemas.microsoft.com/office/drawing/2014/main" id="{EF0AA249-1164-E1A3-CB6C-C3FC20727316}"/>
              </a:ext>
            </a:extLst>
          </p:cNvPr>
          <p:cNvSpPr/>
          <p:nvPr/>
        </p:nvSpPr>
        <p:spPr>
          <a:xfrm>
            <a:off x="6436032" y="28118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9" name="Freeform 338">
            <a:extLst>
              <a:ext uri="{FF2B5EF4-FFF2-40B4-BE49-F238E27FC236}">
                <a16:creationId xmlns:a16="http://schemas.microsoft.com/office/drawing/2014/main" id="{02C88D30-8A05-B65B-71F4-149F6DD861FD}"/>
              </a:ext>
            </a:extLst>
          </p:cNvPr>
          <p:cNvSpPr/>
          <p:nvPr/>
        </p:nvSpPr>
        <p:spPr>
          <a:xfrm>
            <a:off x="6322668" y="269309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0" name="Freeform 339">
            <a:extLst>
              <a:ext uri="{FF2B5EF4-FFF2-40B4-BE49-F238E27FC236}">
                <a16:creationId xmlns:a16="http://schemas.microsoft.com/office/drawing/2014/main" id="{5E009AFD-62AA-5B2A-0AC1-4E218606C7CA}"/>
              </a:ext>
            </a:extLst>
          </p:cNvPr>
          <p:cNvSpPr/>
          <p:nvPr/>
        </p:nvSpPr>
        <p:spPr>
          <a:xfrm>
            <a:off x="6256630" y="274988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1" name="Freeform 341">
            <a:extLst>
              <a:ext uri="{FF2B5EF4-FFF2-40B4-BE49-F238E27FC236}">
                <a16:creationId xmlns:a16="http://schemas.microsoft.com/office/drawing/2014/main" id="{7BB7A9BC-7248-C262-A1CA-E60FB42665D9}"/>
              </a:ext>
            </a:extLst>
          </p:cNvPr>
          <p:cNvSpPr/>
          <p:nvPr/>
        </p:nvSpPr>
        <p:spPr>
          <a:xfrm>
            <a:off x="6298454" y="265901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2" name="Freeform 342">
            <a:extLst>
              <a:ext uri="{FF2B5EF4-FFF2-40B4-BE49-F238E27FC236}">
                <a16:creationId xmlns:a16="http://schemas.microsoft.com/office/drawing/2014/main" id="{442DFE25-41FC-D6AD-6680-47C32A31A681}"/>
              </a:ext>
            </a:extLst>
          </p:cNvPr>
          <p:cNvSpPr/>
          <p:nvPr/>
        </p:nvSpPr>
        <p:spPr>
          <a:xfrm>
            <a:off x="6232966" y="271580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3" name="Freeform 344">
            <a:extLst>
              <a:ext uri="{FF2B5EF4-FFF2-40B4-BE49-F238E27FC236}">
                <a16:creationId xmlns:a16="http://schemas.microsoft.com/office/drawing/2014/main" id="{DFCF198F-29C4-80CB-A53F-500911EDF65A}"/>
              </a:ext>
            </a:extLst>
          </p:cNvPr>
          <p:cNvSpPr/>
          <p:nvPr/>
        </p:nvSpPr>
        <p:spPr>
          <a:xfrm>
            <a:off x="6262683" y="2631087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4" name="Freeform 345">
            <a:extLst>
              <a:ext uri="{FF2B5EF4-FFF2-40B4-BE49-F238E27FC236}">
                <a16:creationId xmlns:a16="http://schemas.microsoft.com/office/drawing/2014/main" id="{0687B9AF-41A7-9F06-E645-92A16159B6D4}"/>
              </a:ext>
            </a:extLst>
          </p:cNvPr>
          <p:cNvSpPr/>
          <p:nvPr/>
        </p:nvSpPr>
        <p:spPr>
          <a:xfrm>
            <a:off x="6197196" y="268788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5" name="Freeform 347">
            <a:extLst>
              <a:ext uri="{FF2B5EF4-FFF2-40B4-BE49-F238E27FC236}">
                <a16:creationId xmlns:a16="http://schemas.microsoft.com/office/drawing/2014/main" id="{490235AB-BACE-43F5-7317-C7125E7A96F4}"/>
              </a:ext>
            </a:extLst>
          </p:cNvPr>
          <p:cNvSpPr/>
          <p:nvPr/>
        </p:nvSpPr>
        <p:spPr>
          <a:xfrm>
            <a:off x="5872511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6" name="Freeform 348">
            <a:extLst>
              <a:ext uri="{FF2B5EF4-FFF2-40B4-BE49-F238E27FC236}">
                <a16:creationId xmlns:a16="http://schemas.microsoft.com/office/drawing/2014/main" id="{F13CF271-EF72-3C2F-39CA-EFD2E97DB75D}"/>
              </a:ext>
            </a:extLst>
          </p:cNvPr>
          <p:cNvSpPr/>
          <p:nvPr/>
        </p:nvSpPr>
        <p:spPr>
          <a:xfrm>
            <a:off x="5807024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7" name="Freeform 350">
            <a:extLst>
              <a:ext uri="{FF2B5EF4-FFF2-40B4-BE49-F238E27FC236}">
                <a16:creationId xmlns:a16="http://schemas.microsoft.com/office/drawing/2014/main" id="{8E25EE40-5C30-7E86-41F2-3AB29F538297}"/>
              </a:ext>
            </a:extLst>
          </p:cNvPr>
          <p:cNvSpPr/>
          <p:nvPr/>
        </p:nvSpPr>
        <p:spPr>
          <a:xfrm>
            <a:off x="5712920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8" name="Freeform 351">
            <a:extLst>
              <a:ext uri="{FF2B5EF4-FFF2-40B4-BE49-F238E27FC236}">
                <a16:creationId xmlns:a16="http://schemas.microsoft.com/office/drawing/2014/main" id="{47A397E2-A787-20BA-C483-FD0E257C5864}"/>
              </a:ext>
            </a:extLst>
          </p:cNvPr>
          <p:cNvSpPr/>
          <p:nvPr/>
        </p:nvSpPr>
        <p:spPr>
          <a:xfrm>
            <a:off x="5646883" y="2632035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9" name="Freeform 353">
            <a:extLst>
              <a:ext uri="{FF2B5EF4-FFF2-40B4-BE49-F238E27FC236}">
                <a16:creationId xmlns:a16="http://schemas.microsoft.com/office/drawing/2014/main" id="{3CCE3174-4F1D-197B-C114-7E24D5826416}"/>
              </a:ext>
            </a:extLst>
          </p:cNvPr>
          <p:cNvSpPr/>
          <p:nvPr/>
        </p:nvSpPr>
        <p:spPr>
          <a:xfrm>
            <a:off x="5662842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0" name="Freeform 354">
            <a:extLst>
              <a:ext uri="{FF2B5EF4-FFF2-40B4-BE49-F238E27FC236}">
                <a16:creationId xmlns:a16="http://schemas.microsoft.com/office/drawing/2014/main" id="{94CC298B-F6EB-ED04-BC50-80C1A078B1F1}"/>
              </a:ext>
            </a:extLst>
          </p:cNvPr>
          <p:cNvSpPr/>
          <p:nvPr/>
        </p:nvSpPr>
        <p:spPr>
          <a:xfrm>
            <a:off x="5597355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1" name="Freeform 356">
            <a:extLst>
              <a:ext uri="{FF2B5EF4-FFF2-40B4-BE49-F238E27FC236}">
                <a16:creationId xmlns:a16="http://schemas.microsoft.com/office/drawing/2014/main" id="{1739D93C-149E-253F-21AB-6B4C842BED24}"/>
              </a:ext>
            </a:extLst>
          </p:cNvPr>
          <p:cNvSpPr/>
          <p:nvPr/>
        </p:nvSpPr>
        <p:spPr>
          <a:xfrm>
            <a:off x="5520861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2" name="Freeform 357">
            <a:extLst>
              <a:ext uri="{FF2B5EF4-FFF2-40B4-BE49-F238E27FC236}">
                <a16:creationId xmlns:a16="http://schemas.microsoft.com/office/drawing/2014/main" id="{5F14481C-7098-EE40-75A9-CDF55CA0DC01}"/>
              </a:ext>
            </a:extLst>
          </p:cNvPr>
          <p:cNvSpPr/>
          <p:nvPr/>
        </p:nvSpPr>
        <p:spPr>
          <a:xfrm>
            <a:off x="5455374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3" name="Freeform 359">
            <a:extLst>
              <a:ext uri="{FF2B5EF4-FFF2-40B4-BE49-F238E27FC236}">
                <a16:creationId xmlns:a16="http://schemas.microsoft.com/office/drawing/2014/main" id="{C1999494-284E-555A-0180-93BAB109CF51}"/>
              </a:ext>
            </a:extLst>
          </p:cNvPr>
          <p:cNvSpPr/>
          <p:nvPr/>
        </p:nvSpPr>
        <p:spPr>
          <a:xfrm>
            <a:off x="5505453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4" name="Freeform 360">
            <a:extLst>
              <a:ext uri="{FF2B5EF4-FFF2-40B4-BE49-F238E27FC236}">
                <a16:creationId xmlns:a16="http://schemas.microsoft.com/office/drawing/2014/main" id="{802379F8-2648-7397-7475-925B24B3F112}"/>
              </a:ext>
            </a:extLst>
          </p:cNvPr>
          <p:cNvSpPr/>
          <p:nvPr/>
        </p:nvSpPr>
        <p:spPr>
          <a:xfrm>
            <a:off x="5439965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Freeform 362">
            <a:extLst>
              <a:ext uri="{FF2B5EF4-FFF2-40B4-BE49-F238E27FC236}">
                <a16:creationId xmlns:a16="http://schemas.microsoft.com/office/drawing/2014/main" id="{33E2567F-1EFA-7E64-62A1-30EB93EBED77}"/>
              </a:ext>
            </a:extLst>
          </p:cNvPr>
          <p:cNvSpPr/>
          <p:nvPr/>
        </p:nvSpPr>
        <p:spPr>
          <a:xfrm>
            <a:off x="5481239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6" name="Freeform 363">
            <a:extLst>
              <a:ext uri="{FF2B5EF4-FFF2-40B4-BE49-F238E27FC236}">
                <a16:creationId xmlns:a16="http://schemas.microsoft.com/office/drawing/2014/main" id="{4FE23334-91D7-114D-2A6C-C58CA04A79B7}"/>
              </a:ext>
            </a:extLst>
          </p:cNvPr>
          <p:cNvSpPr/>
          <p:nvPr/>
        </p:nvSpPr>
        <p:spPr>
          <a:xfrm>
            <a:off x="5415752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7" name="Freeform 365">
            <a:extLst>
              <a:ext uri="{FF2B5EF4-FFF2-40B4-BE49-F238E27FC236}">
                <a16:creationId xmlns:a16="http://schemas.microsoft.com/office/drawing/2014/main" id="{5CD3C1EB-CFD6-2867-5A69-9B11B1C7B61D}"/>
              </a:ext>
            </a:extLst>
          </p:cNvPr>
          <p:cNvSpPr/>
          <p:nvPr/>
        </p:nvSpPr>
        <p:spPr>
          <a:xfrm>
            <a:off x="5247356" y="249950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8" name="Freeform 366">
            <a:extLst>
              <a:ext uri="{FF2B5EF4-FFF2-40B4-BE49-F238E27FC236}">
                <a16:creationId xmlns:a16="http://schemas.microsoft.com/office/drawing/2014/main" id="{B5FBEECC-2FAD-1CF5-0A03-606C1553ADA5}"/>
              </a:ext>
            </a:extLst>
          </p:cNvPr>
          <p:cNvSpPr/>
          <p:nvPr/>
        </p:nvSpPr>
        <p:spPr>
          <a:xfrm>
            <a:off x="5181318" y="255630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9" name="Freeform 368">
            <a:extLst>
              <a:ext uri="{FF2B5EF4-FFF2-40B4-BE49-F238E27FC236}">
                <a16:creationId xmlns:a16="http://schemas.microsoft.com/office/drawing/2014/main" id="{AFB3BD20-3222-4162-8380-B1D7E6F3BF8C}"/>
              </a:ext>
            </a:extLst>
          </p:cNvPr>
          <p:cNvSpPr/>
          <p:nvPr/>
        </p:nvSpPr>
        <p:spPr>
          <a:xfrm>
            <a:off x="5060799" y="2475845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0" name="Freeform 369">
            <a:extLst>
              <a:ext uri="{FF2B5EF4-FFF2-40B4-BE49-F238E27FC236}">
                <a16:creationId xmlns:a16="http://schemas.microsoft.com/office/drawing/2014/main" id="{6E40FA78-7A24-CEC7-C291-77C10CDA1C7A}"/>
              </a:ext>
            </a:extLst>
          </p:cNvPr>
          <p:cNvSpPr/>
          <p:nvPr/>
        </p:nvSpPr>
        <p:spPr>
          <a:xfrm>
            <a:off x="4994762" y="2532641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1" name="Freeform 371">
            <a:extLst>
              <a:ext uri="{FF2B5EF4-FFF2-40B4-BE49-F238E27FC236}">
                <a16:creationId xmlns:a16="http://schemas.microsoft.com/office/drawing/2014/main" id="{DFCCEA38-8001-F916-8F3B-9F99CF7B54B4}"/>
              </a:ext>
            </a:extLst>
          </p:cNvPr>
          <p:cNvSpPr/>
          <p:nvPr/>
        </p:nvSpPr>
        <p:spPr>
          <a:xfrm>
            <a:off x="4774087" y="242993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2" name="Freeform 372">
            <a:extLst>
              <a:ext uri="{FF2B5EF4-FFF2-40B4-BE49-F238E27FC236}">
                <a16:creationId xmlns:a16="http://schemas.microsoft.com/office/drawing/2014/main" id="{65C44E3E-110D-E74F-8B0D-343EFB176205}"/>
              </a:ext>
            </a:extLst>
          </p:cNvPr>
          <p:cNvSpPr/>
          <p:nvPr/>
        </p:nvSpPr>
        <p:spPr>
          <a:xfrm>
            <a:off x="4708599" y="2486731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3" name="Freeform 374">
            <a:extLst>
              <a:ext uri="{FF2B5EF4-FFF2-40B4-BE49-F238E27FC236}">
                <a16:creationId xmlns:a16="http://schemas.microsoft.com/office/drawing/2014/main" id="{1A732357-837A-898C-F393-2CBD4AF9610A}"/>
              </a:ext>
            </a:extLst>
          </p:cNvPr>
          <p:cNvSpPr/>
          <p:nvPr/>
        </p:nvSpPr>
        <p:spPr>
          <a:xfrm>
            <a:off x="4631005" y="242993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4" name="Freeform 375">
            <a:extLst>
              <a:ext uri="{FF2B5EF4-FFF2-40B4-BE49-F238E27FC236}">
                <a16:creationId xmlns:a16="http://schemas.microsoft.com/office/drawing/2014/main" id="{A4A6D160-87B9-1A09-C139-D7E6B80D23E9}"/>
              </a:ext>
            </a:extLst>
          </p:cNvPr>
          <p:cNvSpPr/>
          <p:nvPr/>
        </p:nvSpPr>
        <p:spPr>
          <a:xfrm>
            <a:off x="4564967" y="2486731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5" name="Freeform 377">
            <a:extLst>
              <a:ext uri="{FF2B5EF4-FFF2-40B4-BE49-F238E27FC236}">
                <a16:creationId xmlns:a16="http://schemas.microsoft.com/office/drawing/2014/main" id="{B221A5D7-BDBD-7E10-B210-CDEC899FE528}"/>
              </a:ext>
            </a:extLst>
          </p:cNvPr>
          <p:cNvSpPr/>
          <p:nvPr/>
        </p:nvSpPr>
        <p:spPr>
          <a:xfrm>
            <a:off x="4228176" y="2339533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6" name="Freeform 378">
            <a:extLst>
              <a:ext uri="{FF2B5EF4-FFF2-40B4-BE49-F238E27FC236}">
                <a16:creationId xmlns:a16="http://schemas.microsoft.com/office/drawing/2014/main" id="{66BFDE09-FDA7-D382-4471-67F6D939EAD5}"/>
              </a:ext>
            </a:extLst>
          </p:cNvPr>
          <p:cNvSpPr/>
          <p:nvPr/>
        </p:nvSpPr>
        <p:spPr>
          <a:xfrm>
            <a:off x="4162138" y="239632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7" name="Freeform 380">
            <a:extLst>
              <a:ext uri="{FF2B5EF4-FFF2-40B4-BE49-F238E27FC236}">
                <a16:creationId xmlns:a16="http://schemas.microsoft.com/office/drawing/2014/main" id="{126C867F-54E6-4268-82E2-92D83D2363B5}"/>
              </a:ext>
            </a:extLst>
          </p:cNvPr>
          <p:cNvSpPr/>
          <p:nvPr/>
        </p:nvSpPr>
        <p:spPr>
          <a:xfrm>
            <a:off x="4211116" y="229504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8" name="Freeform 381">
            <a:extLst>
              <a:ext uri="{FF2B5EF4-FFF2-40B4-BE49-F238E27FC236}">
                <a16:creationId xmlns:a16="http://schemas.microsoft.com/office/drawing/2014/main" id="{C81F731A-F89D-C508-FDCB-52E6340E396A}"/>
              </a:ext>
            </a:extLst>
          </p:cNvPr>
          <p:cNvSpPr/>
          <p:nvPr/>
        </p:nvSpPr>
        <p:spPr>
          <a:xfrm>
            <a:off x="4145079" y="235183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9" name="Freeform 383">
            <a:extLst>
              <a:ext uri="{FF2B5EF4-FFF2-40B4-BE49-F238E27FC236}">
                <a16:creationId xmlns:a16="http://schemas.microsoft.com/office/drawing/2014/main" id="{7AD1542F-C825-7DAE-8E36-0D97C56761B4}"/>
              </a:ext>
            </a:extLst>
          </p:cNvPr>
          <p:cNvSpPr/>
          <p:nvPr/>
        </p:nvSpPr>
        <p:spPr>
          <a:xfrm>
            <a:off x="4074638" y="220842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0" name="Freeform 384">
            <a:extLst>
              <a:ext uri="{FF2B5EF4-FFF2-40B4-BE49-F238E27FC236}">
                <a16:creationId xmlns:a16="http://schemas.microsoft.com/office/drawing/2014/main" id="{B090470F-1639-87CA-D1A9-79BDA1E17F09}"/>
              </a:ext>
            </a:extLst>
          </p:cNvPr>
          <p:cNvSpPr/>
          <p:nvPr/>
        </p:nvSpPr>
        <p:spPr>
          <a:xfrm>
            <a:off x="4008601" y="226522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1" name="Freeform 386">
            <a:extLst>
              <a:ext uri="{FF2B5EF4-FFF2-40B4-BE49-F238E27FC236}">
                <a16:creationId xmlns:a16="http://schemas.microsoft.com/office/drawing/2014/main" id="{612F28F0-FC07-4A5A-5891-7F220AD6239B}"/>
              </a:ext>
            </a:extLst>
          </p:cNvPr>
          <p:cNvSpPr/>
          <p:nvPr/>
        </p:nvSpPr>
        <p:spPr>
          <a:xfrm>
            <a:off x="4022358" y="2188550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2" name="Freeform 387">
            <a:extLst>
              <a:ext uri="{FF2B5EF4-FFF2-40B4-BE49-F238E27FC236}">
                <a16:creationId xmlns:a16="http://schemas.microsoft.com/office/drawing/2014/main" id="{DBE0ED24-7E1D-EB07-324C-CF3F05C8FF8E}"/>
              </a:ext>
            </a:extLst>
          </p:cNvPr>
          <p:cNvSpPr/>
          <p:nvPr/>
        </p:nvSpPr>
        <p:spPr>
          <a:xfrm>
            <a:off x="3956321" y="224534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3" name="Freeform 389">
            <a:extLst>
              <a:ext uri="{FF2B5EF4-FFF2-40B4-BE49-F238E27FC236}">
                <a16:creationId xmlns:a16="http://schemas.microsoft.com/office/drawing/2014/main" id="{310BB0F8-E2D9-A621-34C1-81BF05461E8C}"/>
              </a:ext>
            </a:extLst>
          </p:cNvPr>
          <p:cNvSpPr/>
          <p:nvPr/>
        </p:nvSpPr>
        <p:spPr>
          <a:xfrm>
            <a:off x="3979435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4" name="Freeform 390">
            <a:extLst>
              <a:ext uri="{FF2B5EF4-FFF2-40B4-BE49-F238E27FC236}">
                <a16:creationId xmlns:a16="http://schemas.microsoft.com/office/drawing/2014/main" id="{F53A3287-09D6-58E1-7F09-ED36F5584E55}"/>
              </a:ext>
            </a:extLst>
          </p:cNvPr>
          <p:cNvSpPr/>
          <p:nvPr/>
        </p:nvSpPr>
        <p:spPr>
          <a:xfrm>
            <a:off x="3913396" y="220132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5" name="Freeform 392">
            <a:extLst>
              <a:ext uri="{FF2B5EF4-FFF2-40B4-BE49-F238E27FC236}">
                <a16:creationId xmlns:a16="http://schemas.microsoft.com/office/drawing/2014/main" id="{30576A8B-525F-6D5D-E701-BDAA0F615EAF}"/>
              </a:ext>
            </a:extLst>
          </p:cNvPr>
          <p:cNvSpPr/>
          <p:nvPr/>
        </p:nvSpPr>
        <p:spPr>
          <a:xfrm>
            <a:off x="3960174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6" name="Freeform 393">
            <a:extLst>
              <a:ext uri="{FF2B5EF4-FFF2-40B4-BE49-F238E27FC236}">
                <a16:creationId xmlns:a16="http://schemas.microsoft.com/office/drawing/2014/main" id="{AC4B26FE-030A-FADF-15F0-9C8E4109C815}"/>
              </a:ext>
            </a:extLst>
          </p:cNvPr>
          <p:cNvSpPr/>
          <p:nvPr/>
        </p:nvSpPr>
        <p:spPr>
          <a:xfrm>
            <a:off x="3894136" y="220132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7" name="Freeform 395">
            <a:extLst>
              <a:ext uri="{FF2B5EF4-FFF2-40B4-BE49-F238E27FC236}">
                <a16:creationId xmlns:a16="http://schemas.microsoft.com/office/drawing/2014/main" id="{3C4E965C-B8CF-F539-D96F-E03B30886DD2}"/>
              </a:ext>
            </a:extLst>
          </p:cNvPr>
          <p:cNvSpPr/>
          <p:nvPr/>
        </p:nvSpPr>
        <p:spPr>
          <a:xfrm>
            <a:off x="3918349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8" name="Freeform 396">
            <a:extLst>
              <a:ext uri="{FF2B5EF4-FFF2-40B4-BE49-F238E27FC236}">
                <a16:creationId xmlns:a16="http://schemas.microsoft.com/office/drawing/2014/main" id="{46AA96B3-4FE7-3DA7-A98D-10CD22EBA5F2}"/>
              </a:ext>
            </a:extLst>
          </p:cNvPr>
          <p:cNvSpPr/>
          <p:nvPr/>
        </p:nvSpPr>
        <p:spPr>
          <a:xfrm>
            <a:off x="3852863" y="220132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9" name="Freeform 398">
            <a:extLst>
              <a:ext uri="{FF2B5EF4-FFF2-40B4-BE49-F238E27FC236}">
                <a16:creationId xmlns:a16="http://schemas.microsoft.com/office/drawing/2014/main" id="{77862EAD-7D58-869B-5026-9F6D7032959E}"/>
              </a:ext>
            </a:extLst>
          </p:cNvPr>
          <p:cNvSpPr/>
          <p:nvPr/>
        </p:nvSpPr>
        <p:spPr>
          <a:xfrm>
            <a:off x="3879277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0" name="Freeform 399">
            <a:extLst>
              <a:ext uri="{FF2B5EF4-FFF2-40B4-BE49-F238E27FC236}">
                <a16:creationId xmlns:a16="http://schemas.microsoft.com/office/drawing/2014/main" id="{4DD23CE4-8163-4CD8-F8C8-59D1D517FB49}"/>
              </a:ext>
            </a:extLst>
          </p:cNvPr>
          <p:cNvSpPr/>
          <p:nvPr/>
        </p:nvSpPr>
        <p:spPr>
          <a:xfrm>
            <a:off x="3813789" y="220132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1" name="Freeform 401">
            <a:extLst>
              <a:ext uri="{FF2B5EF4-FFF2-40B4-BE49-F238E27FC236}">
                <a16:creationId xmlns:a16="http://schemas.microsoft.com/office/drawing/2014/main" id="{6DE16821-310B-86F6-1EBE-8D3CEF46E479}"/>
              </a:ext>
            </a:extLst>
          </p:cNvPr>
          <p:cNvSpPr/>
          <p:nvPr/>
        </p:nvSpPr>
        <p:spPr>
          <a:xfrm>
            <a:off x="3838004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2" name="Freeform 402">
            <a:extLst>
              <a:ext uri="{FF2B5EF4-FFF2-40B4-BE49-F238E27FC236}">
                <a16:creationId xmlns:a16="http://schemas.microsoft.com/office/drawing/2014/main" id="{5532BC4C-C226-607D-A9F3-77E8D6846D3F}"/>
              </a:ext>
            </a:extLst>
          </p:cNvPr>
          <p:cNvSpPr/>
          <p:nvPr/>
        </p:nvSpPr>
        <p:spPr>
          <a:xfrm>
            <a:off x="3771966" y="220132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3" name="Freeform 404">
            <a:extLst>
              <a:ext uri="{FF2B5EF4-FFF2-40B4-BE49-F238E27FC236}">
                <a16:creationId xmlns:a16="http://schemas.microsoft.com/office/drawing/2014/main" id="{BEAB557D-9C8E-04D0-B29C-77647CB89D3A}"/>
              </a:ext>
            </a:extLst>
          </p:cNvPr>
          <p:cNvSpPr/>
          <p:nvPr/>
        </p:nvSpPr>
        <p:spPr>
          <a:xfrm>
            <a:off x="3781872" y="20834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4" name="Freeform 405">
            <a:extLst>
              <a:ext uri="{FF2B5EF4-FFF2-40B4-BE49-F238E27FC236}">
                <a16:creationId xmlns:a16="http://schemas.microsoft.com/office/drawing/2014/main" id="{A3CB11F3-9272-FFD5-527E-11DF214AC31F}"/>
              </a:ext>
            </a:extLst>
          </p:cNvPr>
          <p:cNvSpPr/>
          <p:nvPr/>
        </p:nvSpPr>
        <p:spPr>
          <a:xfrm>
            <a:off x="3716384" y="21402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5" name="Freeform 407">
            <a:extLst>
              <a:ext uri="{FF2B5EF4-FFF2-40B4-BE49-F238E27FC236}">
                <a16:creationId xmlns:a16="http://schemas.microsoft.com/office/drawing/2014/main" id="{22D3176B-5861-A1A9-5903-991C195EAFD2}"/>
              </a:ext>
            </a:extLst>
          </p:cNvPr>
          <p:cNvSpPr/>
          <p:nvPr/>
        </p:nvSpPr>
        <p:spPr>
          <a:xfrm>
            <a:off x="3598618" y="202857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6" name="Freeform 408">
            <a:extLst>
              <a:ext uri="{FF2B5EF4-FFF2-40B4-BE49-F238E27FC236}">
                <a16:creationId xmlns:a16="http://schemas.microsoft.com/office/drawing/2014/main" id="{29AAED82-3970-6E97-4EE9-587E0AEB8FD2}"/>
              </a:ext>
            </a:extLst>
          </p:cNvPr>
          <p:cNvSpPr/>
          <p:nvPr/>
        </p:nvSpPr>
        <p:spPr>
          <a:xfrm>
            <a:off x="3532579" y="208537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7" name="Freeform 410">
            <a:extLst>
              <a:ext uri="{FF2B5EF4-FFF2-40B4-BE49-F238E27FC236}">
                <a16:creationId xmlns:a16="http://schemas.microsoft.com/office/drawing/2014/main" id="{52882858-DC45-8CB8-29CD-C5D469617F94}"/>
              </a:ext>
            </a:extLst>
          </p:cNvPr>
          <p:cNvSpPr/>
          <p:nvPr/>
        </p:nvSpPr>
        <p:spPr>
          <a:xfrm>
            <a:off x="3017486" y="172045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8" name="Freeform 411">
            <a:extLst>
              <a:ext uri="{FF2B5EF4-FFF2-40B4-BE49-F238E27FC236}">
                <a16:creationId xmlns:a16="http://schemas.microsoft.com/office/drawing/2014/main" id="{3FEC4BE2-33AD-FE80-9942-DA25C8330B43}"/>
              </a:ext>
            </a:extLst>
          </p:cNvPr>
          <p:cNvSpPr/>
          <p:nvPr/>
        </p:nvSpPr>
        <p:spPr>
          <a:xfrm>
            <a:off x="2952000" y="177677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9" name="Freeform 413">
            <a:extLst>
              <a:ext uri="{FF2B5EF4-FFF2-40B4-BE49-F238E27FC236}">
                <a16:creationId xmlns:a16="http://schemas.microsoft.com/office/drawing/2014/main" id="{ACC625E5-E9D7-F7D4-BE76-A32791BE2703}"/>
              </a:ext>
            </a:extLst>
          </p:cNvPr>
          <p:cNvSpPr/>
          <p:nvPr/>
        </p:nvSpPr>
        <p:spPr>
          <a:xfrm>
            <a:off x="2987770" y="170057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0" name="Freeform 414">
            <a:extLst>
              <a:ext uri="{FF2B5EF4-FFF2-40B4-BE49-F238E27FC236}">
                <a16:creationId xmlns:a16="http://schemas.microsoft.com/office/drawing/2014/main" id="{30F976CD-225F-A5AD-4E96-10AD50611E5D}"/>
              </a:ext>
            </a:extLst>
          </p:cNvPr>
          <p:cNvSpPr/>
          <p:nvPr/>
        </p:nvSpPr>
        <p:spPr>
          <a:xfrm>
            <a:off x="2921732" y="1756898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1" name="Freeform 416">
            <a:extLst>
              <a:ext uri="{FF2B5EF4-FFF2-40B4-BE49-F238E27FC236}">
                <a16:creationId xmlns:a16="http://schemas.microsoft.com/office/drawing/2014/main" id="{B8775CBA-D6C3-7A25-D7FE-A03A9BD3D445}"/>
              </a:ext>
            </a:extLst>
          </p:cNvPr>
          <p:cNvSpPr/>
          <p:nvPr/>
        </p:nvSpPr>
        <p:spPr>
          <a:xfrm>
            <a:off x="2932188" y="166081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2" name="Freeform 417">
            <a:extLst>
              <a:ext uri="{FF2B5EF4-FFF2-40B4-BE49-F238E27FC236}">
                <a16:creationId xmlns:a16="http://schemas.microsoft.com/office/drawing/2014/main" id="{8127E6B4-87E7-7AEF-C815-C0F775BFFB7C}"/>
              </a:ext>
            </a:extLst>
          </p:cNvPr>
          <p:cNvSpPr/>
          <p:nvPr/>
        </p:nvSpPr>
        <p:spPr>
          <a:xfrm>
            <a:off x="2866701" y="171714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3" name="Freeform 419">
            <a:extLst>
              <a:ext uri="{FF2B5EF4-FFF2-40B4-BE49-F238E27FC236}">
                <a16:creationId xmlns:a16="http://schemas.microsoft.com/office/drawing/2014/main" id="{40A83FC0-F818-60EB-A8CF-F6AC540A7759}"/>
              </a:ext>
            </a:extLst>
          </p:cNvPr>
          <p:cNvSpPr/>
          <p:nvPr/>
        </p:nvSpPr>
        <p:spPr>
          <a:xfrm>
            <a:off x="2898069" y="166081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4" name="Freeform 420">
            <a:extLst>
              <a:ext uri="{FF2B5EF4-FFF2-40B4-BE49-F238E27FC236}">
                <a16:creationId xmlns:a16="http://schemas.microsoft.com/office/drawing/2014/main" id="{0B392EE6-E431-4964-451A-656C47BDA00F}"/>
              </a:ext>
            </a:extLst>
          </p:cNvPr>
          <p:cNvSpPr/>
          <p:nvPr/>
        </p:nvSpPr>
        <p:spPr>
          <a:xfrm>
            <a:off x="2832582" y="171714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5" name="Freeform 422">
            <a:extLst>
              <a:ext uri="{FF2B5EF4-FFF2-40B4-BE49-F238E27FC236}">
                <a16:creationId xmlns:a16="http://schemas.microsoft.com/office/drawing/2014/main" id="{0209F0B2-6554-98FC-428F-96F8BC9E90B0}"/>
              </a:ext>
            </a:extLst>
          </p:cNvPr>
          <p:cNvSpPr/>
          <p:nvPr/>
        </p:nvSpPr>
        <p:spPr>
          <a:xfrm>
            <a:off x="2789658" y="164519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6" name="Freeform 423">
            <a:extLst>
              <a:ext uri="{FF2B5EF4-FFF2-40B4-BE49-F238E27FC236}">
                <a16:creationId xmlns:a16="http://schemas.microsoft.com/office/drawing/2014/main" id="{FD7686E3-4EE1-6F3D-EE2D-759B874EE75B}"/>
              </a:ext>
            </a:extLst>
          </p:cNvPr>
          <p:cNvSpPr/>
          <p:nvPr/>
        </p:nvSpPr>
        <p:spPr>
          <a:xfrm>
            <a:off x="2723619" y="1701994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7" name="Freeform 425">
            <a:extLst>
              <a:ext uri="{FF2B5EF4-FFF2-40B4-BE49-F238E27FC236}">
                <a16:creationId xmlns:a16="http://schemas.microsoft.com/office/drawing/2014/main" id="{975882D4-97C6-B579-4E47-A0A8DBFE1793}"/>
              </a:ext>
            </a:extLst>
          </p:cNvPr>
          <p:cNvSpPr/>
          <p:nvPr/>
        </p:nvSpPr>
        <p:spPr>
          <a:xfrm>
            <a:off x="2698306" y="149894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8" name="Freeform 426">
            <a:extLst>
              <a:ext uri="{FF2B5EF4-FFF2-40B4-BE49-F238E27FC236}">
                <a16:creationId xmlns:a16="http://schemas.microsoft.com/office/drawing/2014/main" id="{820AF327-49F7-6E18-AE55-065B6A69421E}"/>
              </a:ext>
            </a:extLst>
          </p:cNvPr>
          <p:cNvSpPr/>
          <p:nvPr/>
        </p:nvSpPr>
        <p:spPr>
          <a:xfrm>
            <a:off x="2632267" y="15557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9" name="Freeform 428">
            <a:extLst>
              <a:ext uri="{FF2B5EF4-FFF2-40B4-BE49-F238E27FC236}">
                <a16:creationId xmlns:a16="http://schemas.microsoft.com/office/drawing/2014/main" id="{7B8F1455-9710-CA51-649E-258D090DD036}"/>
              </a:ext>
            </a:extLst>
          </p:cNvPr>
          <p:cNvSpPr/>
          <p:nvPr/>
        </p:nvSpPr>
        <p:spPr>
          <a:xfrm>
            <a:off x="2566781" y="149894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0" name="Freeform 429">
            <a:extLst>
              <a:ext uri="{FF2B5EF4-FFF2-40B4-BE49-F238E27FC236}">
                <a16:creationId xmlns:a16="http://schemas.microsoft.com/office/drawing/2014/main" id="{51C32D46-2468-2864-4DDA-ED3F5E6EE7F2}"/>
              </a:ext>
            </a:extLst>
          </p:cNvPr>
          <p:cNvSpPr/>
          <p:nvPr/>
        </p:nvSpPr>
        <p:spPr>
          <a:xfrm>
            <a:off x="2500743" y="15557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1" name="Freeform 431">
            <a:extLst>
              <a:ext uri="{FF2B5EF4-FFF2-40B4-BE49-F238E27FC236}">
                <a16:creationId xmlns:a16="http://schemas.microsoft.com/office/drawing/2014/main" id="{4A273E60-7D63-A349-05C6-F39749E00002}"/>
              </a:ext>
            </a:extLst>
          </p:cNvPr>
          <p:cNvSpPr/>
          <p:nvPr/>
        </p:nvSpPr>
        <p:spPr>
          <a:xfrm>
            <a:off x="2546419" y="144357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2" name="Freeform 432">
            <a:extLst>
              <a:ext uri="{FF2B5EF4-FFF2-40B4-BE49-F238E27FC236}">
                <a16:creationId xmlns:a16="http://schemas.microsoft.com/office/drawing/2014/main" id="{1AB5260A-687A-2B76-6A21-11340F7F4A82}"/>
              </a:ext>
            </a:extLst>
          </p:cNvPr>
          <p:cNvSpPr/>
          <p:nvPr/>
        </p:nvSpPr>
        <p:spPr>
          <a:xfrm>
            <a:off x="2480381" y="1500368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3" name="Freeform 434">
            <a:extLst>
              <a:ext uri="{FF2B5EF4-FFF2-40B4-BE49-F238E27FC236}">
                <a16:creationId xmlns:a16="http://schemas.microsoft.com/office/drawing/2014/main" id="{31B0D06A-920B-100B-D7DD-CE97B041AAEB}"/>
              </a:ext>
            </a:extLst>
          </p:cNvPr>
          <p:cNvSpPr/>
          <p:nvPr/>
        </p:nvSpPr>
        <p:spPr>
          <a:xfrm>
            <a:off x="2488636" y="142747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4" name="Freeform 435">
            <a:extLst>
              <a:ext uri="{FF2B5EF4-FFF2-40B4-BE49-F238E27FC236}">
                <a16:creationId xmlns:a16="http://schemas.microsoft.com/office/drawing/2014/main" id="{9F74B8FC-0B01-F3C6-E7BE-8D069A6883A2}"/>
              </a:ext>
            </a:extLst>
          </p:cNvPr>
          <p:cNvSpPr/>
          <p:nvPr/>
        </p:nvSpPr>
        <p:spPr>
          <a:xfrm>
            <a:off x="2422598" y="148380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5" name="Freeform 437">
            <a:extLst>
              <a:ext uri="{FF2B5EF4-FFF2-40B4-BE49-F238E27FC236}">
                <a16:creationId xmlns:a16="http://schemas.microsoft.com/office/drawing/2014/main" id="{5C306636-E1CC-7723-4C35-44E7CF334516}"/>
              </a:ext>
            </a:extLst>
          </p:cNvPr>
          <p:cNvSpPr/>
          <p:nvPr/>
        </p:nvSpPr>
        <p:spPr>
          <a:xfrm>
            <a:off x="2439658" y="14094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6" name="Freeform 438">
            <a:extLst>
              <a:ext uri="{FF2B5EF4-FFF2-40B4-BE49-F238E27FC236}">
                <a16:creationId xmlns:a16="http://schemas.microsoft.com/office/drawing/2014/main" id="{EA91A05E-915B-91F3-BCC1-603DFF7E78D3}"/>
              </a:ext>
            </a:extLst>
          </p:cNvPr>
          <p:cNvSpPr/>
          <p:nvPr/>
        </p:nvSpPr>
        <p:spPr>
          <a:xfrm>
            <a:off x="2374171" y="146629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7" name="Freeform 440">
            <a:extLst>
              <a:ext uri="{FF2B5EF4-FFF2-40B4-BE49-F238E27FC236}">
                <a16:creationId xmlns:a16="http://schemas.microsoft.com/office/drawing/2014/main" id="{AC60FB83-053B-201F-4E74-E2C7E256B786}"/>
              </a:ext>
            </a:extLst>
          </p:cNvPr>
          <p:cNvSpPr/>
          <p:nvPr/>
        </p:nvSpPr>
        <p:spPr>
          <a:xfrm>
            <a:off x="2361514" y="134039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8" name="Freeform 441">
            <a:extLst>
              <a:ext uri="{FF2B5EF4-FFF2-40B4-BE49-F238E27FC236}">
                <a16:creationId xmlns:a16="http://schemas.microsoft.com/office/drawing/2014/main" id="{F7500504-58EA-1DC5-E8DB-DAD3355B47D1}"/>
              </a:ext>
            </a:extLst>
          </p:cNvPr>
          <p:cNvSpPr/>
          <p:nvPr/>
        </p:nvSpPr>
        <p:spPr>
          <a:xfrm>
            <a:off x="2296026" y="139671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9" name="Freeform 443">
            <a:extLst>
              <a:ext uri="{FF2B5EF4-FFF2-40B4-BE49-F238E27FC236}">
                <a16:creationId xmlns:a16="http://schemas.microsoft.com/office/drawing/2014/main" id="{21640958-5A2B-E406-E638-2D92B796A53E}"/>
              </a:ext>
            </a:extLst>
          </p:cNvPr>
          <p:cNvSpPr/>
          <p:nvPr/>
        </p:nvSpPr>
        <p:spPr>
          <a:xfrm>
            <a:off x="2118825" y="123484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0" name="Freeform 444">
            <a:extLst>
              <a:ext uri="{FF2B5EF4-FFF2-40B4-BE49-F238E27FC236}">
                <a16:creationId xmlns:a16="http://schemas.microsoft.com/office/drawing/2014/main" id="{EECAE768-53E1-41A5-E12B-A3C3EE62B148}"/>
              </a:ext>
            </a:extLst>
          </p:cNvPr>
          <p:cNvSpPr/>
          <p:nvPr/>
        </p:nvSpPr>
        <p:spPr>
          <a:xfrm>
            <a:off x="2052788" y="129116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73A34F8C-249C-E001-2C8D-FCC67AF74C8F}"/>
              </a:ext>
            </a:extLst>
          </p:cNvPr>
          <p:cNvSpPr txBox="1"/>
          <p:nvPr/>
        </p:nvSpPr>
        <p:spPr>
          <a:xfrm rot="16200000">
            <a:off x="-35504" y="2379698"/>
            <a:ext cx="25506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Proportion alive and progression free</a:t>
            </a:r>
          </a:p>
        </p:txBody>
      </p: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E20E58D3-51CB-E1CE-16A6-6ADFAC24A9FD}"/>
              </a:ext>
            </a:extLst>
          </p:cNvPr>
          <p:cNvGrpSpPr/>
          <p:nvPr/>
        </p:nvGrpSpPr>
        <p:grpSpPr>
          <a:xfrm>
            <a:off x="1471664" y="1200713"/>
            <a:ext cx="253771" cy="2635156"/>
            <a:chOff x="1683866" y="1456247"/>
            <a:chExt cx="138937" cy="2698257"/>
          </a:xfrm>
        </p:grpSpPr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94D5744E-4B4A-DA5C-59D3-073FDAA12174}"/>
                </a:ext>
              </a:extLst>
            </p:cNvPr>
            <p:cNvSpPr txBox="1"/>
            <p:nvPr/>
          </p:nvSpPr>
          <p:spPr>
            <a:xfrm>
              <a:off x="1693391" y="3975164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0</a:t>
              </a: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AA3CE410-E407-B7B8-577F-7173D25A7D67}"/>
                </a:ext>
              </a:extLst>
            </p:cNvPr>
            <p:cNvSpPr txBox="1"/>
            <p:nvPr/>
          </p:nvSpPr>
          <p:spPr>
            <a:xfrm>
              <a:off x="1693391" y="3469513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2</a:t>
              </a: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6CC1C5B2-1667-DFC4-E08B-D9CE9E8A8B94}"/>
                </a:ext>
              </a:extLst>
            </p:cNvPr>
            <p:cNvSpPr txBox="1"/>
            <p:nvPr/>
          </p:nvSpPr>
          <p:spPr>
            <a:xfrm>
              <a:off x="1693391" y="2956865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4</a:t>
              </a: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32A537B6-EB28-09DC-C32E-2C677DB338E5}"/>
                </a:ext>
              </a:extLst>
            </p:cNvPr>
            <p:cNvSpPr txBox="1"/>
            <p:nvPr/>
          </p:nvSpPr>
          <p:spPr>
            <a:xfrm>
              <a:off x="1683866" y="2462880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6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DCDF3D49-C90F-6E17-F917-063E690D9F38}"/>
                </a:ext>
              </a:extLst>
            </p:cNvPr>
            <p:cNvSpPr txBox="1"/>
            <p:nvPr/>
          </p:nvSpPr>
          <p:spPr>
            <a:xfrm>
              <a:off x="1683866" y="1950231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8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C78AD3D9-93E2-2572-6E1A-8A492D80BBD9}"/>
                </a:ext>
              </a:extLst>
            </p:cNvPr>
            <p:cNvSpPr txBox="1"/>
            <p:nvPr/>
          </p:nvSpPr>
          <p:spPr>
            <a:xfrm>
              <a:off x="1683866" y="1456247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1.0</a:t>
              </a:r>
            </a:p>
          </p:txBody>
        </p:sp>
      </p:grpSp>
      <p:sp>
        <p:nvSpPr>
          <p:cNvPr id="329" name="TextBox 328">
            <a:extLst>
              <a:ext uri="{FF2B5EF4-FFF2-40B4-BE49-F238E27FC236}">
                <a16:creationId xmlns:a16="http://schemas.microsoft.com/office/drawing/2014/main" id="{E89D97C7-B580-6AE2-51A5-7F40D99EEB35}"/>
              </a:ext>
            </a:extLst>
          </p:cNvPr>
          <p:cNvSpPr txBox="1"/>
          <p:nvPr/>
        </p:nvSpPr>
        <p:spPr>
          <a:xfrm>
            <a:off x="828675" y="4095447"/>
            <a:ext cx="8451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No. at risk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no. of events)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C4F74E05-FA53-CF60-ED0C-901E7683C685}"/>
              </a:ext>
            </a:extLst>
          </p:cNvPr>
          <p:cNvSpPr txBox="1"/>
          <p:nvPr/>
        </p:nvSpPr>
        <p:spPr>
          <a:xfrm>
            <a:off x="2014843" y="4396075"/>
            <a:ext cx="144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55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D73A3652-71D6-B592-188C-4AF2FEEDB0D9}"/>
              </a:ext>
            </a:extLst>
          </p:cNvPr>
          <p:cNvSpPr txBox="1"/>
          <p:nvPr/>
        </p:nvSpPr>
        <p:spPr>
          <a:xfrm>
            <a:off x="2039086" y="4521169"/>
            <a:ext cx="1330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0)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8BD85246-D193-44D1-CD84-86A5AC6C3D32}"/>
              </a:ext>
            </a:extLst>
          </p:cNvPr>
          <p:cNvSpPr txBox="1"/>
          <p:nvPr/>
        </p:nvSpPr>
        <p:spPr>
          <a:xfrm>
            <a:off x="2241020" y="4396075"/>
            <a:ext cx="1458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43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AACFCED-ED6E-94DD-2598-BF005593F7E3}"/>
              </a:ext>
            </a:extLst>
          </p:cNvPr>
          <p:cNvSpPr txBox="1"/>
          <p:nvPr/>
        </p:nvSpPr>
        <p:spPr>
          <a:xfrm>
            <a:off x="2265263" y="4521169"/>
            <a:ext cx="12663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)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EA166E68-87B2-1E43-3BF2-44844D19D1EC}"/>
              </a:ext>
            </a:extLst>
          </p:cNvPr>
          <p:cNvSpPr txBox="1"/>
          <p:nvPr/>
        </p:nvSpPr>
        <p:spPr>
          <a:xfrm>
            <a:off x="2467151" y="4396075"/>
            <a:ext cx="144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5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49465279-9C40-A285-7614-456E44ECF391}"/>
              </a:ext>
            </a:extLst>
          </p:cNvPr>
          <p:cNvSpPr txBox="1"/>
          <p:nvPr/>
        </p:nvSpPr>
        <p:spPr>
          <a:xfrm>
            <a:off x="2460081" y="4521169"/>
            <a:ext cx="16511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0)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738CDE8D-A6A9-8C86-1E99-515B1E7C5F5B}"/>
              </a:ext>
            </a:extLst>
          </p:cNvPr>
          <p:cNvSpPr txBox="1"/>
          <p:nvPr/>
        </p:nvSpPr>
        <p:spPr>
          <a:xfrm>
            <a:off x="2697330" y="4396075"/>
            <a:ext cx="1506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0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56BF3594-5FAD-D29C-1F73-52BDD80257BA}"/>
              </a:ext>
            </a:extLst>
          </p:cNvPr>
          <p:cNvSpPr txBox="1"/>
          <p:nvPr/>
        </p:nvSpPr>
        <p:spPr>
          <a:xfrm>
            <a:off x="2690260" y="452116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5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41CEB6B8-90B1-61B6-B485-D846B7993800}"/>
              </a:ext>
            </a:extLst>
          </p:cNvPr>
          <p:cNvSpPr txBox="1"/>
          <p:nvPr/>
        </p:nvSpPr>
        <p:spPr>
          <a:xfrm>
            <a:off x="2923508" y="4396075"/>
            <a:ext cx="1426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25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88C36703-77D7-4D35-4DFD-216967219391}"/>
              </a:ext>
            </a:extLst>
          </p:cNvPr>
          <p:cNvSpPr txBox="1"/>
          <p:nvPr/>
        </p:nvSpPr>
        <p:spPr>
          <a:xfrm>
            <a:off x="2916438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9)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03BFDDD0-6F57-18D3-76F2-D1E91E0BE224}"/>
              </a:ext>
            </a:extLst>
          </p:cNvPr>
          <p:cNvSpPr txBox="1"/>
          <p:nvPr/>
        </p:nvSpPr>
        <p:spPr>
          <a:xfrm>
            <a:off x="3149684" y="4396075"/>
            <a:ext cx="14106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22</a:t>
            </a: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405043B9-E233-AB7F-B80D-277917CABA47}"/>
              </a:ext>
            </a:extLst>
          </p:cNvPr>
          <p:cNvSpPr txBox="1"/>
          <p:nvPr/>
        </p:nvSpPr>
        <p:spPr>
          <a:xfrm>
            <a:off x="3142614" y="4521169"/>
            <a:ext cx="15709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1)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89420D4B-9AC4-FD69-B413-5069DC757B28}"/>
              </a:ext>
            </a:extLst>
          </p:cNvPr>
          <p:cNvSpPr txBox="1"/>
          <p:nvPr/>
        </p:nvSpPr>
        <p:spPr>
          <a:xfrm>
            <a:off x="3379863" y="4396075"/>
            <a:ext cx="11381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7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B68AD4A2-CE34-2904-F8F5-BAAB93E58DAB}"/>
              </a:ext>
            </a:extLst>
          </p:cNvPr>
          <p:cNvSpPr txBox="1"/>
          <p:nvPr/>
        </p:nvSpPr>
        <p:spPr>
          <a:xfrm>
            <a:off x="337279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6)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15CD53B3-D514-3651-2417-745C2DE5E9BD}"/>
              </a:ext>
            </a:extLst>
          </p:cNvPr>
          <p:cNvSpPr txBox="1"/>
          <p:nvPr/>
        </p:nvSpPr>
        <p:spPr>
          <a:xfrm>
            <a:off x="3589452" y="4396075"/>
            <a:ext cx="21780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3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06FC812A-474B-F5A3-C11E-96DF3440FEBA}"/>
              </a:ext>
            </a:extLst>
          </p:cNvPr>
          <p:cNvSpPr txBox="1"/>
          <p:nvPr/>
        </p:nvSpPr>
        <p:spPr>
          <a:xfrm>
            <a:off x="3609201" y="4520236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8)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139713BA-EB36-6182-3745-9DF6B4DF3F90}"/>
              </a:ext>
            </a:extLst>
          </p:cNvPr>
          <p:cNvSpPr txBox="1"/>
          <p:nvPr/>
        </p:nvSpPr>
        <p:spPr>
          <a:xfrm>
            <a:off x="3832218" y="4396075"/>
            <a:ext cx="961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1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B518AB31-BE9A-8E82-0667-A8995C77B83E}"/>
              </a:ext>
            </a:extLst>
          </p:cNvPr>
          <p:cNvSpPr txBox="1"/>
          <p:nvPr/>
        </p:nvSpPr>
        <p:spPr>
          <a:xfrm>
            <a:off x="3825147" y="4521169"/>
            <a:ext cx="1891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0)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28FF77F2-C3DD-C9FC-DC3B-E9EFDF81C94A}"/>
              </a:ext>
            </a:extLst>
          </p:cNvPr>
          <p:cNvSpPr txBox="1"/>
          <p:nvPr/>
        </p:nvSpPr>
        <p:spPr>
          <a:xfrm>
            <a:off x="4058395" y="4396075"/>
            <a:ext cx="1522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9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2EEB1531-67B8-5167-795F-8154C589BF5B}"/>
              </a:ext>
            </a:extLst>
          </p:cNvPr>
          <p:cNvSpPr txBox="1"/>
          <p:nvPr/>
        </p:nvSpPr>
        <p:spPr>
          <a:xfrm>
            <a:off x="405132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2)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265C4D37-4ACC-FFCF-C80A-9D98D968926E}"/>
              </a:ext>
            </a:extLst>
          </p:cNvPr>
          <p:cNvSpPr txBox="1"/>
          <p:nvPr/>
        </p:nvSpPr>
        <p:spPr>
          <a:xfrm>
            <a:off x="4281251" y="4396075"/>
            <a:ext cx="144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7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E3D07055-3D85-AC46-8E9F-47152600F691}"/>
              </a:ext>
            </a:extLst>
          </p:cNvPr>
          <p:cNvSpPr txBox="1"/>
          <p:nvPr/>
        </p:nvSpPr>
        <p:spPr>
          <a:xfrm>
            <a:off x="4274180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4)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94D76DE8-5225-810C-441E-5A19FFFF680F}"/>
              </a:ext>
            </a:extLst>
          </p:cNvPr>
          <p:cNvSpPr txBox="1"/>
          <p:nvPr/>
        </p:nvSpPr>
        <p:spPr>
          <a:xfrm>
            <a:off x="4513673" y="4396075"/>
            <a:ext cx="1490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2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88DAC6EE-E7BE-01B0-C26F-DE99E31B78DB}"/>
              </a:ext>
            </a:extLst>
          </p:cNvPr>
          <p:cNvSpPr txBox="1"/>
          <p:nvPr/>
        </p:nvSpPr>
        <p:spPr>
          <a:xfrm>
            <a:off x="450660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7)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EFE2AA45-EE4A-379F-7094-B567E3D9D71E}"/>
              </a:ext>
            </a:extLst>
          </p:cNvPr>
          <p:cNvSpPr txBox="1"/>
          <p:nvPr/>
        </p:nvSpPr>
        <p:spPr>
          <a:xfrm>
            <a:off x="4771194" y="4396075"/>
            <a:ext cx="1074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7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139F6AFA-4FFE-8455-B924-C8DF3441616F}"/>
              </a:ext>
            </a:extLst>
          </p:cNvPr>
          <p:cNvSpPr txBox="1"/>
          <p:nvPr/>
        </p:nvSpPr>
        <p:spPr>
          <a:xfrm>
            <a:off x="4732809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1)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7E9C2E13-8645-A8E2-F9CD-9B6A19E4B6D6}"/>
              </a:ext>
            </a:extLst>
          </p:cNvPr>
          <p:cNvSpPr txBox="1"/>
          <p:nvPr/>
        </p:nvSpPr>
        <p:spPr>
          <a:xfrm>
            <a:off x="4997668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3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D35477C4-6D44-D8C2-013B-4D7600C104FC}"/>
              </a:ext>
            </a:extLst>
          </p:cNvPr>
          <p:cNvSpPr txBox="1"/>
          <p:nvPr/>
        </p:nvSpPr>
        <p:spPr>
          <a:xfrm>
            <a:off x="495928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2)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5857B9D2-2289-F21A-6436-1FC2B45005F8}"/>
              </a:ext>
            </a:extLst>
          </p:cNvPr>
          <p:cNvSpPr txBox="1"/>
          <p:nvPr/>
        </p:nvSpPr>
        <p:spPr>
          <a:xfrm>
            <a:off x="5226780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2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A4634AAF-53F9-CE0A-839C-C1C0F80E142A}"/>
              </a:ext>
            </a:extLst>
          </p:cNvPr>
          <p:cNvSpPr txBox="1"/>
          <p:nvPr/>
        </p:nvSpPr>
        <p:spPr>
          <a:xfrm>
            <a:off x="518839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7)</a:t>
            </a: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DB041800-9DDA-1BDB-E148-74DE5BAE7D61}"/>
              </a:ext>
            </a:extLst>
          </p:cNvPr>
          <p:cNvSpPr txBox="1"/>
          <p:nvPr/>
        </p:nvSpPr>
        <p:spPr>
          <a:xfrm>
            <a:off x="5451855" y="4396075"/>
            <a:ext cx="1202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0</a:t>
            </a: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6EF84BAB-A144-4807-82E4-28F3741A7ED2}"/>
              </a:ext>
            </a:extLst>
          </p:cNvPr>
          <p:cNvSpPr txBox="1"/>
          <p:nvPr/>
        </p:nvSpPr>
        <p:spPr>
          <a:xfrm>
            <a:off x="5413470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7)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3134C12C-FB31-97D7-1BB9-4C5BF4FB1DA0}"/>
              </a:ext>
            </a:extLst>
          </p:cNvPr>
          <p:cNvSpPr txBox="1"/>
          <p:nvPr/>
        </p:nvSpPr>
        <p:spPr>
          <a:xfrm>
            <a:off x="5682967" y="4396075"/>
            <a:ext cx="993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7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2A1A9C36-059D-5C0B-7911-BCC0C229F23F}"/>
              </a:ext>
            </a:extLst>
          </p:cNvPr>
          <p:cNvSpPr txBox="1"/>
          <p:nvPr/>
        </p:nvSpPr>
        <p:spPr>
          <a:xfrm>
            <a:off x="5644581" y="4521169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9)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1AF086BD-7C20-AB36-F9C7-8E757AEE868F}"/>
              </a:ext>
            </a:extLst>
          </p:cNvPr>
          <p:cNvSpPr txBox="1"/>
          <p:nvPr/>
        </p:nvSpPr>
        <p:spPr>
          <a:xfrm>
            <a:off x="5907298" y="4396075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41102BEF-7B17-A2C7-F8AF-E5CB4DB75715}"/>
              </a:ext>
            </a:extLst>
          </p:cNvPr>
          <p:cNvSpPr txBox="1"/>
          <p:nvPr/>
        </p:nvSpPr>
        <p:spPr>
          <a:xfrm>
            <a:off x="5868913" y="4521169"/>
            <a:ext cx="1891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0)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5AB66EA8-ECA3-812A-835C-E5C842A69F91}"/>
              </a:ext>
            </a:extLst>
          </p:cNvPr>
          <p:cNvSpPr txBox="1"/>
          <p:nvPr/>
        </p:nvSpPr>
        <p:spPr>
          <a:xfrm>
            <a:off x="6133720" y="4396075"/>
            <a:ext cx="10419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2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183ED794-F4F0-D59E-6E13-3FD25D224868}"/>
              </a:ext>
            </a:extLst>
          </p:cNvPr>
          <p:cNvSpPr txBox="1"/>
          <p:nvPr/>
        </p:nvSpPr>
        <p:spPr>
          <a:xfrm>
            <a:off x="609533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2)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CBCEBA38-62BF-B4E5-F0AE-CC0503830B7D}"/>
              </a:ext>
            </a:extLst>
          </p:cNvPr>
          <p:cNvSpPr txBox="1"/>
          <p:nvPr/>
        </p:nvSpPr>
        <p:spPr>
          <a:xfrm>
            <a:off x="6363941" y="4396075"/>
            <a:ext cx="1074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67</a:t>
            </a: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18A70321-D16D-898D-F90C-7ADA4306B13C}"/>
              </a:ext>
            </a:extLst>
          </p:cNvPr>
          <p:cNvSpPr txBox="1"/>
          <p:nvPr/>
        </p:nvSpPr>
        <p:spPr>
          <a:xfrm>
            <a:off x="6325556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3)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5F278FF5-53EF-6ADB-6111-F7867A502441}"/>
              </a:ext>
            </a:extLst>
          </p:cNvPr>
          <p:cNvSpPr txBox="1"/>
          <p:nvPr/>
        </p:nvSpPr>
        <p:spPr>
          <a:xfrm>
            <a:off x="6585227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64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0B4741FB-248D-B00E-FBCE-A2407DF27C48}"/>
              </a:ext>
            </a:extLst>
          </p:cNvPr>
          <p:cNvSpPr txBox="1"/>
          <p:nvPr/>
        </p:nvSpPr>
        <p:spPr>
          <a:xfrm>
            <a:off x="654684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4)</a:t>
            </a: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009F23B0-9F84-3177-2049-F8AB1E113ED8}"/>
              </a:ext>
            </a:extLst>
          </p:cNvPr>
          <p:cNvSpPr txBox="1"/>
          <p:nvPr/>
        </p:nvSpPr>
        <p:spPr>
          <a:xfrm>
            <a:off x="6813351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9</a:t>
            </a:r>
          </a:p>
        </p:txBody>
      </p:sp>
      <p:sp>
        <p:nvSpPr>
          <p:cNvPr id="373" name="TextBox 372">
            <a:extLst>
              <a:ext uri="{FF2B5EF4-FFF2-40B4-BE49-F238E27FC236}">
                <a16:creationId xmlns:a16="http://schemas.microsoft.com/office/drawing/2014/main" id="{50F70C24-F34E-7854-0FCF-A73DBE7491F2}"/>
              </a:ext>
            </a:extLst>
          </p:cNvPr>
          <p:cNvSpPr txBox="1"/>
          <p:nvPr/>
        </p:nvSpPr>
        <p:spPr>
          <a:xfrm>
            <a:off x="6774966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6)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654E8FA4-D2D1-3005-EFC4-E9478CAECB25}"/>
              </a:ext>
            </a:extLst>
          </p:cNvPr>
          <p:cNvSpPr txBox="1"/>
          <p:nvPr/>
        </p:nvSpPr>
        <p:spPr>
          <a:xfrm>
            <a:off x="7043283" y="4396075"/>
            <a:ext cx="11862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D2165EC1-171F-57CA-7B1B-707DAA2CCB82}"/>
              </a:ext>
            </a:extLst>
          </p:cNvPr>
          <p:cNvSpPr txBox="1"/>
          <p:nvPr/>
        </p:nvSpPr>
        <p:spPr>
          <a:xfrm>
            <a:off x="7004898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8)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C1BCCD8B-210B-220F-E3E4-EE56C92B91FF}"/>
              </a:ext>
            </a:extLst>
          </p:cNvPr>
          <p:cNvSpPr txBox="1"/>
          <p:nvPr/>
        </p:nvSpPr>
        <p:spPr>
          <a:xfrm>
            <a:off x="7266694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5</a:t>
            </a: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30610BDF-33C1-A68F-5956-B0C20B80FE95}"/>
              </a:ext>
            </a:extLst>
          </p:cNvPr>
          <p:cNvSpPr txBox="1"/>
          <p:nvPr/>
        </p:nvSpPr>
        <p:spPr>
          <a:xfrm>
            <a:off x="722830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9)</a:t>
            </a: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549F2B1C-6D62-7C32-BD0A-CB1E45BFD2A9}"/>
              </a:ext>
            </a:extLst>
          </p:cNvPr>
          <p:cNvSpPr txBox="1"/>
          <p:nvPr/>
        </p:nvSpPr>
        <p:spPr>
          <a:xfrm>
            <a:off x="7496624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8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F1CFDCE9-7CD4-6485-5441-CAC768574FD8}"/>
              </a:ext>
            </a:extLst>
          </p:cNvPr>
          <p:cNvSpPr txBox="1"/>
          <p:nvPr/>
        </p:nvSpPr>
        <p:spPr>
          <a:xfrm>
            <a:off x="7458239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1)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40EA6A30-F614-B6D5-7910-4FFBFFC456A1}"/>
              </a:ext>
            </a:extLst>
          </p:cNvPr>
          <p:cNvSpPr txBox="1"/>
          <p:nvPr/>
        </p:nvSpPr>
        <p:spPr>
          <a:xfrm>
            <a:off x="7722240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E5B79D88-938C-8A38-FB67-49B82A040EB0}"/>
              </a:ext>
            </a:extLst>
          </p:cNvPr>
          <p:cNvSpPr txBox="1"/>
          <p:nvPr/>
        </p:nvSpPr>
        <p:spPr>
          <a:xfrm>
            <a:off x="7683855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1)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649E259C-C9D8-4E52-DC11-D87CB7FA00D3}"/>
              </a:ext>
            </a:extLst>
          </p:cNvPr>
          <p:cNvSpPr txBox="1"/>
          <p:nvPr/>
        </p:nvSpPr>
        <p:spPr>
          <a:xfrm>
            <a:off x="7951993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8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D508CD0F-C2DA-5E1B-33DD-6D1AE4ACF466}"/>
              </a:ext>
            </a:extLst>
          </p:cNvPr>
          <p:cNvSpPr txBox="1"/>
          <p:nvPr/>
        </p:nvSpPr>
        <p:spPr>
          <a:xfrm>
            <a:off x="7913608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E9615269-3AA2-C4F4-0A7E-4D780F2116C9}"/>
              </a:ext>
            </a:extLst>
          </p:cNvPr>
          <p:cNvSpPr txBox="1"/>
          <p:nvPr/>
        </p:nvSpPr>
        <p:spPr>
          <a:xfrm>
            <a:off x="8173814" y="4396075"/>
            <a:ext cx="1106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3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F8979B12-B22B-8331-706C-2EA435C2ACC6}"/>
              </a:ext>
            </a:extLst>
          </p:cNvPr>
          <p:cNvSpPr txBox="1"/>
          <p:nvPr/>
        </p:nvSpPr>
        <p:spPr>
          <a:xfrm>
            <a:off x="813542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7D848896-2FAA-A7F5-FF23-9AE19A0AF91C}"/>
              </a:ext>
            </a:extLst>
          </p:cNvPr>
          <p:cNvSpPr txBox="1"/>
          <p:nvPr/>
        </p:nvSpPr>
        <p:spPr>
          <a:xfrm>
            <a:off x="8405450" y="4396075"/>
            <a:ext cx="8656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1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E3E9A78A-0B1F-330F-64C8-21AE409E167F}"/>
              </a:ext>
            </a:extLst>
          </p:cNvPr>
          <p:cNvSpPr txBox="1"/>
          <p:nvPr/>
        </p:nvSpPr>
        <p:spPr>
          <a:xfrm>
            <a:off x="836706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35055EB3-2A7A-8D38-F247-E9205B5394AE}"/>
              </a:ext>
            </a:extLst>
          </p:cNvPr>
          <p:cNvSpPr txBox="1"/>
          <p:nvPr/>
        </p:nvSpPr>
        <p:spPr>
          <a:xfrm>
            <a:off x="8631487" y="4396075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6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34E138A2-1AD3-2C60-36A4-1D919B3AABB5}"/>
              </a:ext>
            </a:extLst>
          </p:cNvPr>
          <p:cNvSpPr txBox="1"/>
          <p:nvPr/>
        </p:nvSpPr>
        <p:spPr>
          <a:xfrm>
            <a:off x="859310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33297D3A-D371-9EE4-7E13-B959CF83C5F6}"/>
              </a:ext>
            </a:extLst>
          </p:cNvPr>
          <p:cNvSpPr txBox="1"/>
          <p:nvPr/>
        </p:nvSpPr>
        <p:spPr>
          <a:xfrm>
            <a:off x="8857254" y="4396075"/>
            <a:ext cx="881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AB0E0F1D-DE8B-3D86-DEA6-077C1BC81252}"/>
              </a:ext>
            </a:extLst>
          </p:cNvPr>
          <p:cNvSpPr txBox="1"/>
          <p:nvPr/>
        </p:nvSpPr>
        <p:spPr>
          <a:xfrm>
            <a:off x="881886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1DA303C7-749F-BA97-4931-4BBBA3251370}"/>
              </a:ext>
            </a:extLst>
          </p:cNvPr>
          <p:cNvSpPr txBox="1"/>
          <p:nvPr/>
        </p:nvSpPr>
        <p:spPr>
          <a:xfrm>
            <a:off x="9116363" y="4396075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BFE62D18-D34E-9CDF-22C3-888DE8393E82}"/>
              </a:ext>
            </a:extLst>
          </p:cNvPr>
          <p:cNvSpPr txBox="1"/>
          <p:nvPr/>
        </p:nvSpPr>
        <p:spPr>
          <a:xfrm>
            <a:off x="9046664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812EA2F1-5676-5394-45E9-C5BF33FB8E9F}"/>
              </a:ext>
            </a:extLst>
          </p:cNvPr>
          <p:cNvSpPr txBox="1"/>
          <p:nvPr/>
        </p:nvSpPr>
        <p:spPr>
          <a:xfrm>
            <a:off x="9344498" y="4396075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80162501-A371-8424-4E87-F3BEAB6BA75E}"/>
              </a:ext>
            </a:extLst>
          </p:cNvPr>
          <p:cNvSpPr txBox="1"/>
          <p:nvPr/>
        </p:nvSpPr>
        <p:spPr>
          <a:xfrm>
            <a:off x="927479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1F7C4139-BBDD-04FB-B2B8-E751DB4A4002}"/>
              </a:ext>
            </a:extLst>
          </p:cNvPr>
          <p:cNvSpPr txBox="1"/>
          <p:nvPr/>
        </p:nvSpPr>
        <p:spPr>
          <a:xfrm>
            <a:off x="9569496" y="4396075"/>
            <a:ext cx="545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60DE4DDC-5841-6AEF-4069-618EF51F6B1F}"/>
              </a:ext>
            </a:extLst>
          </p:cNvPr>
          <p:cNvSpPr txBox="1"/>
          <p:nvPr/>
        </p:nvSpPr>
        <p:spPr>
          <a:xfrm>
            <a:off x="9499797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F62C1811-7F20-D81B-D5E0-D7F6046C7E02}"/>
              </a:ext>
            </a:extLst>
          </p:cNvPr>
          <p:cNvSpPr txBox="1"/>
          <p:nvPr/>
        </p:nvSpPr>
        <p:spPr>
          <a:xfrm>
            <a:off x="9794123" y="4396075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7FAB4062-B520-CAB2-B56B-7D8151B7A471}"/>
              </a:ext>
            </a:extLst>
          </p:cNvPr>
          <p:cNvSpPr txBox="1"/>
          <p:nvPr/>
        </p:nvSpPr>
        <p:spPr>
          <a:xfrm>
            <a:off x="972442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6BB29089-3297-46CB-8470-2E65EF991F3D}"/>
              </a:ext>
            </a:extLst>
          </p:cNvPr>
          <p:cNvSpPr txBox="1"/>
          <p:nvPr/>
        </p:nvSpPr>
        <p:spPr>
          <a:xfrm>
            <a:off x="10028238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1" name="TextBox 400">
            <a:extLst>
              <a:ext uri="{FF2B5EF4-FFF2-40B4-BE49-F238E27FC236}">
                <a16:creationId xmlns:a16="http://schemas.microsoft.com/office/drawing/2014/main" id="{D2136C56-9F16-336D-F327-BED4C4DB06AE}"/>
              </a:ext>
            </a:extLst>
          </p:cNvPr>
          <p:cNvSpPr txBox="1"/>
          <p:nvPr/>
        </p:nvSpPr>
        <p:spPr>
          <a:xfrm>
            <a:off x="9958540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43C1FDEB-D7B8-A0F5-4613-3A0846B6B554}"/>
              </a:ext>
            </a:extLst>
          </p:cNvPr>
          <p:cNvSpPr txBox="1"/>
          <p:nvPr/>
        </p:nvSpPr>
        <p:spPr>
          <a:xfrm>
            <a:off x="10257395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1367089D-7B96-98BB-2697-F1225AD3351C}"/>
              </a:ext>
            </a:extLst>
          </p:cNvPr>
          <p:cNvSpPr txBox="1"/>
          <p:nvPr/>
        </p:nvSpPr>
        <p:spPr>
          <a:xfrm>
            <a:off x="10187697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4" name="TextBox 403">
            <a:extLst>
              <a:ext uri="{FF2B5EF4-FFF2-40B4-BE49-F238E27FC236}">
                <a16:creationId xmlns:a16="http://schemas.microsoft.com/office/drawing/2014/main" id="{4123DD70-C146-E384-0E2D-A1E8619DABC3}"/>
              </a:ext>
            </a:extLst>
          </p:cNvPr>
          <p:cNvSpPr txBox="1"/>
          <p:nvPr/>
        </p:nvSpPr>
        <p:spPr>
          <a:xfrm>
            <a:off x="10479420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F156F04F-D75A-C400-B93E-A7BA7D736F30}"/>
              </a:ext>
            </a:extLst>
          </p:cNvPr>
          <p:cNvSpPr txBox="1"/>
          <p:nvPr/>
        </p:nvSpPr>
        <p:spPr>
          <a:xfrm>
            <a:off x="1040972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15206A47-A293-8403-8D4E-8AE4670A3E0F}"/>
              </a:ext>
            </a:extLst>
          </p:cNvPr>
          <p:cNvSpPr txBox="1"/>
          <p:nvPr/>
        </p:nvSpPr>
        <p:spPr>
          <a:xfrm>
            <a:off x="10705541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DC2BC290-6143-D846-727C-CE287478D0E1}"/>
              </a:ext>
            </a:extLst>
          </p:cNvPr>
          <p:cNvSpPr txBox="1"/>
          <p:nvPr/>
        </p:nvSpPr>
        <p:spPr>
          <a:xfrm>
            <a:off x="1063584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8" name="TextBox 407">
            <a:extLst>
              <a:ext uri="{FF2B5EF4-FFF2-40B4-BE49-F238E27FC236}">
                <a16:creationId xmlns:a16="http://schemas.microsoft.com/office/drawing/2014/main" id="{52A62EAF-4438-E864-13CE-7ECDC3DE88BE}"/>
              </a:ext>
            </a:extLst>
          </p:cNvPr>
          <p:cNvSpPr txBox="1"/>
          <p:nvPr/>
        </p:nvSpPr>
        <p:spPr>
          <a:xfrm>
            <a:off x="10934221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96714A45-7C33-E7A7-2577-129017C6B382}"/>
              </a:ext>
            </a:extLst>
          </p:cNvPr>
          <p:cNvSpPr txBox="1"/>
          <p:nvPr/>
        </p:nvSpPr>
        <p:spPr>
          <a:xfrm>
            <a:off x="1086452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FD5E9C17-02F0-2F67-9F1A-EF5E867BB153}"/>
              </a:ext>
            </a:extLst>
          </p:cNvPr>
          <p:cNvSpPr txBox="1"/>
          <p:nvPr/>
        </p:nvSpPr>
        <p:spPr>
          <a:xfrm>
            <a:off x="980698" y="4457684"/>
            <a:ext cx="1971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BPd</a:t>
            </a:r>
            <a:endParaRPr kumimoji="0" lang="en-US" sz="800" b="1" i="0" u="none" strike="noStrike" kern="1200" cap="none" spc="0" normalizeH="0" baseline="0" noProof="0">
              <a:ln/>
              <a:solidFill>
                <a:srgbClr val="00B8AD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  <a:rtl val="0"/>
            </a:endParaRP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9D856EFB-A5FF-CEA4-6F3C-91C728256848}"/>
              </a:ext>
            </a:extLst>
          </p:cNvPr>
          <p:cNvSpPr txBox="1"/>
          <p:nvPr/>
        </p:nvSpPr>
        <p:spPr>
          <a:xfrm>
            <a:off x="2014843" y="4727472"/>
            <a:ext cx="13946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47</a:t>
            </a: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5A8E9F42-FD90-F73B-67AB-3B59D91938B9}"/>
              </a:ext>
            </a:extLst>
          </p:cNvPr>
          <p:cNvSpPr txBox="1"/>
          <p:nvPr/>
        </p:nvSpPr>
        <p:spPr>
          <a:xfrm>
            <a:off x="2241020" y="4727472"/>
            <a:ext cx="1458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8</a:t>
            </a: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1453DEEC-1E6F-C9FD-975E-0028789B3814}"/>
              </a:ext>
            </a:extLst>
          </p:cNvPr>
          <p:cNvSpPr txBox="1"/>
          <p:nvPr/>
        </p:nvSpPr>
        <p:spPr>
          <a:xfrm>
            <a:off x="2467151" y="4727472"/>
            <a:ext cx="1426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23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EEBE7D66-9FB2-26A6-6327-A34D15231F03}"/>
              </a:ext>
            </a:extLst>
          </p:cNvPr>
          <p:cNvSpPr txBox="1"/>
          <p:nvPr/>
        </p:nvSpPr>
        <p:spPr>
          <a:xfrm>
            <a:off x="2697330" y="4727472"/>
            <a:ext cx="961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1</a:t>
            </a: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B0C1CDF0-958F-BE02-3FFE-78357D30AF49}"/>
              </a:ext>
            </a:extLst>
          </p:cNvPr>
          <p:cNvSpPr txBox="1"/>
          <p:nvPr/>
        </p:nvSpPr>
        <p:spPr>
          <a:xfrm>
            <a:off x="2923508" y="4727472"/>
            <a:ext cx="1490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2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166EFEF7-DCD1-7121-F22B-05FFC022AE40}"/>
              </a:ext>
            </a:extLst>
          </p:cNvPr>
          <p:cNvSpPr txBox="1"/>
          <p:nvPr/>
        </p:nvSpPr>
        <p:spPr>
          <a:xfrm>
            <a:off x="3180999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6</a:t>
            </a:r>
          </a:p>
        </p:txBody>
      </p:sp>
      <p:sp>
        <p:nvSpPr>
          <p:cNvPr id="417" name="TextBox 416">
            <a:extLst>
              <a:ext uri="{FF2B5EF4-FFF2-40B4-BE49-F238E27FC236}">
                <a16:creationId xmlns:a16="http://schemas.microsoft.com/office/drawing/2014/main" id="{77005321-1CED-3540-1831-59613418DCD4}"/>
              </a:ext>
            </a:extLst>
          </p:cNvPr>
          <p:cNvSpPr txBox="1"/>
          <p:nvPr/>
        </p:nvSpPr>
        <p:spPr>
          <a:xfrm>
            <a:off x="3411178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2</a:t>
            </a: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BBB7F2EE-0390-5289-EFAD-CD80AE197A85}"/>
              </a:ext>
            </a:extLst>
          </p:cNvPr>
          <p:cNvSpPr txBox="1"/>
          <p:nvPr/>
        </p:nvSpPr>
        <p:spPr>
          <a:xfrm>
            <a:off x="3642864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3</a:t>
            </a: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id="{F822B5F7-A265-5499-2224-66F2FCABA51D}"/>
              </a:ext>
            </a:extLst>
          </p:cNvPr>
          <p:cNvSpPr txBox="1"/>
          <p:nvPr/>
        </p:nvSpPr>
        <p:spPr>
          <a:xfrm>
            <a:off x="3863532" y="4727472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420" name="TextBox 419">
            <a:extLst>
              <a:ext uri="{FF2B5EF4-FFF2-40B4-BE49-F238E27FC236}">
                <a16:creationId xmlns:a16="http://schemas.microsoft.com/office/drawing/2014/main" id="{5AE2CD27-3CFD-16A2-29AD-1E926032636E}"/>
              </a:ext>
            </a:extLst>
          </p:cNvPr>
          <p:cNvSpPr txBox="1"/>
          <p:nvPr/>
        </p:nvSpPr>
        <p:spPr>
          <a:xfrm>
            <a:off x="4089710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68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571E70BA-C700-E1E2-A14D-E42A1C6913F7}"/>
              </a:ext>
            </a:extLst>
          </p:cNvPr>
          <p:cNvSpPr txBox="1"/>
          <p:nvPr/>
        </p:nvSpPr>
        <p:spPr>
          <a:xfrm>
            <a:off x="4312565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9</a:t>
            </a:r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id="{E0FF4969-1535-6390-1A4F-A076FAE7F816}"/>
              </a:ext>
            </a:extLst>
          </p:cNvPr>
          <p:cNvSpPr txBox="1"/>
          <p:nvPr/>
        </p:nvSpPr>
        <p:spPr>
          <a:xfrm>
            <a:off x="4544988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6</a:t>
            </a:r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D5C11992-3905-424F-8857-FB5F23AADD61}"/>
              </a:ext>
            </a:extLst>
          </p:cNvPr>
          <p:cNvSpPr txBox="1"/>
          <p:nvPr/>
        </p:nvSpPr>
        <p:spPr>
          <a:xfrm>
            <a:off x="4771194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4</a:t>
            </a:r>
          </a:p>
        </p:txBody>
      </p:sp>
      <p:sp>
        <p:nvSpPr>
          <p:cNvPr id="424" name="TextBox 423">
            <a:extLst>
              <a:ext uri="{FF2B5EF4-FFF2-40B4-BE49-F238E27FC236}">
                <a16:creationId xmlns:a16="http://schemas.microsoft.com/office/drawing/2014/main" id="{40C14A25-D2B8-E5AF-D0F2-1D30B5A48C65}"/>
              </a:ext>
            </a:extLst>
          </p:cNvPr>
          <p:cNvSpPr txBox="1"/>
          <p:nvPr/>
        </p:nvSpPr>
        <p:spPr>
          <a:xfrm>
            <a:off x="4997668" y="4727472"/>
            <a:ext cx="881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1</a:t>
            </a: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4756A9A1-AAEB-1E06-ADF1-5FCE702833FD}"/>
              </a:ext>
            </a:extLst>
          </p:cNvPr>
          <p:cNvSpPr txBox="1"/>
          <p:nvPr/>
        </p:nvSpPr>
        <p:spPr>
          <a:xfrm>
            <a:off x="5226780" y="4727472"/>
            <a:ext cx="1074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7</a:t>
            </a:r>
          </a:p>
        </p:txBody>
      </p:sp>
      <p:sp>
        <p:nvSpPr>
          <p:cNvPr id="426" name="TextBox 425">
            <a:extLst>
              <a:ext uri="{FF2B5EF4-FFF2-40B4-BE49-F238E27FC236}">
                <a16:creationId xmlns:a16="http://schemas.microsoft.com/office/drawing/2014/main" id="{74A55841-BB28-4ED4-8ECB-28EAB8B0E2E4}"/>
              </a:ext>
            </a:extLst>
          </p:cNvPr>
          <p:cNvSpPr txBox="1"/>
          <p:nvPr/>
        </p:nvSpPr>
        <p:spPr>
          <a:xfrm>
            <a:off x="5451855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3</a:t>
            </a:r>
          </a:p>
        </p:txBody>
      </p:sp>
      <p:sp>
        <p:nvSpPr>
          <p:cNvPr id="427" name="TextBox 426">
            <a:extLst>
              <a:ext uri="{FF2B5EF4-FFF2-40B4-BE49-F238E27FC236}">
                <a16:creationId xmlns:a16="http://schemas.microsoft.com/office/drawing/2014/main" id="{C256C64C-B2DB-D204-6291-1D19BFDBFD33}"/>
              </a:ext>
            </a:extLst>
          </p:cNvPr>
          <p:cNvSpPr txBox="1"/>
          <p:nvPr/>
        </p:nvSpPr>
        <p:spPr>
          <a:xfrm>
            <a:off x="5682967" y="4727472"/>
            <a:ext cx="1202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0</a:t>
            </a:r>
          </a:p>
        </p:txBody>
      </p:sp>
      <p:sp>
        <p:nvSpPr>
          <p:cNvPr id="428" name="TextBox 427">
            <a:extLst>
              <a:ext uri="{FF2B5EF4-FFF2-40B4-BE49-F238E27FC236}">
                <a16:creationId xmlns:a16="http://schemas.microsoft.com/office/drawing/2014/main" id="{1B72B66B-5ADA-2F17-E8DA-F504F71CF7FE}"/>
              </a:ext>
            </a:extLst>
          </p:cNvPr>
          <p:cNvSpPr txBox="1"/>
          <p:nvPr/>
        </p:nvSpPr>
        <p:spPr>
          <a:xfrm>
            <a:off x="5907298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9</a:t>
            </a: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46F48465-EB10-5B15-6AEE-72D3F70CC5DF}"/>
              </a:ext>
            </a:extLst>
          </p:cNvPr>
          <p:cNvSpPr txBox="1"/>
          <p:nvPr/>
        </p:nvSpPr>
        <p:spPr>
          <a:xfrm>
            <a:off x="6133720" y="4727472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7</a:t>
            </a:r>
          </a:p>
        </p:txBody>
      </p:sp>
      <p:sp>
        <p:nvSpPr>
          <p:cNvPr id="430" name="TextBox 429">
            <a:extLst>
              <a:ext uri="{FF2B5EF4-FFF2-40B4-BE49-F238E27FC236}">
                <a16:creationId xmlns:a16="http://schemas.microsoft.com/office/drawing/2014/main" id="{6AF42F55-F05A-5560-0561-13B55336A1F0}"/>
              </a:ext>
            </a:extLst>
          </p:cNvPr>
          <p:cNvSpPr txBox="1"/>
          <p:nvPr/>
        </p:nvSpPr>
        <p:spPr>
          <a:xfrm>
            <a:off x="6363941" y="4727472"/>
            <a:ext cx="11862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431" name="TextBox 430">
            <a:extLst>
              <a:ext uri="{FF2B5EF4-FFF2-40B4-BE49-F238E27FC236}">
                <a16:creationId xmlns:a16="http://schemas.microsoft.com/office/drawing/2014/main" id="{A6855A29-629F-458F-9A59-9684D635B26C}"/>
              </a:ext>
            </a:extLst>
          </p:cNvPr>
          <p:cNvSpPr txBox="1"/>
          <p:nvPr/>
        </p:nvSpPr>
        <p:spPr>
          <a:xfrm>
            <a:off x="6585227" y="4727472"/>
            <a:ext cx="1106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432" name="TextBox 431">
            <a:extLst>
              <a:ext uri="{FF2B5EF4-FFF2-40B4-BE49-F238E27FC236}">
                <a16:creationId xmlns:a16="http://schemas.microsoft.com/office/drawing/2014/main" id="{3901C2E8-2124-6EF8-6BA8-1097A3E4381D}"/>
              </a:ext>
            </a:extLst>
          </p:cNvPr>
          <p:cNvSpPr txBox="1"/>
          <p:nvPr/>
        </p:nvSpPr>
        <p:spPr>
          <a:xfrm>
            <a:off x="6813351" y="4727472"/>
            <a:ext cx="10900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2</a:t>
            </a: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D6C56FCB-1BA9-DEF3-50D0-6F47EEAF46AB}"/>
              </a:ext>
            </a:extLst>
          </p:cNvPr>
          <p:cNvSpPr txBox="1"/>
          <p:nvPr/>
        </p:nvSpPr>
        <p:spPr>
          <a:xfrm>
            <a:off x="7043283" y="4727472"/>
            <a:ext cx="10900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2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F9ED5193-4349-1ADE-6F2F-43FCA1C9E593}"/>
              </a:ext>
            </a:extLst>
          </p:cNvPr>
          <p:cNvSpPr txBox="1"/>
          <p:nvPr/>
        </p:nvSpPr>
        <p:spPr>
          <a:xfrm>
            <a:off x="7266694" y="4727472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9</a:t>
            </a: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441CF129-9799-630F-715A-BD9151D49F57}"/>
              </a:ext>
            </a:extLst>
          </p:cNvPr>
          <p:cNvSpPr txBox="1"/>
          <p:nvPr/>
        </p:nvSpPr>
        <p:spPr>
          <a:xfrm>
            <a:off x="7496624" y="4727472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436" name="TextBox 435">
            <a:extLst>
              <a:ext uri="{FF2B5EF4-FFF2-40B4-BE49-F238E27FC236}">
                <a16:creationId xmlns:a16="http://schemas.microsoft.com/office/drawing/2014/main" id="{9F6346D8-A3A0-6427-F655-36BCEC1D5044}"/>
              </a:ext>
            </a:extLst>
          </p:cNvPr>
          <p:cNvSpPr txBox="1"/>
          <p:nvPr/>
        </p:nvSpPr>
        <p:spPr>
          <a:xfrm>
            <a:off x="7722240" y="4727472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33033C24-7A12-E739-36B7-A85347998A7C}"/>
              </a:ext>
            </a:extLst>
          </p:cNvPr>
          <p:cNvSpPr txBox="1"/>
          <p:nvPr/>
        </p:nvSpPr>
        <p:spPr>
          <a:xfrm>
            <a:off x="7951993" y="4727472"/>
            <a:ext cx="817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7</a:t>
            </a: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C9118E5A-2D03-6526-360F-4F5414BB688D}"/>
              </a:ext>
            </a:extLst>
          </p:cNvPr>
          <p:cNvSpPr txBox="1"/>
          <p:nvPr/>
        </p:nvSpPr>
        <p:spPr>
          <a:xfrm>
            <a:off x="8173814" y="4727472"/>
            <a:ext cx="881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</a:t>
            </a: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BFCE5BA4-BB8A-2007-5396-5BF68F9BAEDF}"/>
              </a:ext>
            </a:extLst>
          </p:cNvPr>
          <p:cNvSpPr txBox="1"/>
          <p:nvPr/>
        </p:nvSpPr>
        <p:spPr>
          <a:xfrm>
            <a:off x="8405450" y="4727472"/>
            <a:ext cx="6412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</a:t>
            </a: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53593E66-602E-6347-B30A-DB618BD8E79A}"/>
              </a:ext>
            </a:extLst>
          </p:cNvPr>
          <p:cNvSpPr txBox="1"/>
          <p:nvPr/>
        </p:nvSpPr>
        <p:spPr>
          <a:xfrm>
            <a:off x="8662800" y="4727472"/>
            <a:ext cx="4969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</a:t>
            </a:r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82049694-17D3-36A9-C559-8B0C9BF2F77D}"/>
              </a:ext>
            </a:extLst>
          </p:cNvPr>
          <p:cNvSpPr txBox="1"/>
          <p:nvPr/>
        </p:nvSpPr>
        <p:spPr>
          <a:xfrm>
            <a:off x="8888567" y="4727472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</a:t>
            </a:r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B45EE929-8340-37CA-8131-0252E70AB207}"/>
              </a:ext>
            </a:extLst>
          </p:cNvPr>
          <p:cNvSpPr txBox="1"/>
          <p:nvPr/>
        </p:nvSpPr>
        <p:spPr>
          <a:xfrm>
            <a:off x="9116363" y="4727472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</a:t>
            </a: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1D7BD268-01BA-E5BC-0CBF-8D9F03F808F2}"/>
              </a:ext>
            </a:extLst>
          </p:cNvPr>
          <p:cNvSpPr txBox="1"/>
          <p:nvPr/>
        </p:nvSpPr>
        <p:spPr>
          <a:xfrm>
            <a:off x="9344498" y="4727472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</a:t>
            </a:r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id="{A514F74D-A16F-390D-81DB-4244A551F9DD}"/>
              </a:ext>
            </a:extLst>
          </p:cNvPr>
          <p:cNvSpPr txBox="1"/>
          <p:nvPr/>
        </p:nvSpPr>
        <p:spPr>
          <a:xfrm>
            <a:off x="9569496" y="4727472"/>
            <a:ext cx="545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14F35687-F0BE-978D-104D-91D46DD6152A}"/>
              </a:ext>
            </a:extLst>
          </p:cNvPr>
          <p:cNvSpPr txBox="1"/>
          <p:nvPr/>
        </p:nvSpPr>
        <p:spPr>
          <a:xfrm>
            <a:off x="9794123" y="4727472"/>
            <a:ext cx="545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446" name="TextBox 445">
            <a:extLst>
              <a:ext uri="{FF2B5EF4-FFF2-40B4-BE49-F238E27FC236}">
                <a16:creationId xmlns:a16="http://schemas.microsoft.com/office/drawing/2014/main" id="{9A55CD02-A4FC-C8BE-1477-8BD50511EA28}"/>
              </a:ext>
            </a:extLst>
          </p:cNvPr>
          <p:cNvSpPr txBox="1"/>
          <p:nvPr/>
        </p:nvSpPr>
        <p:spPr>
          <a:xfrm>
            <a:off x="10028238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47" name="TextBox 446">
            <a:extLst>
              <a:ext uri="{FF2B5EF4-FFF2-40B4-BE49-F238E27FC236}">
                <a16:creationId xmlns:a16="http://schemas.microsoft.com/office/drawing/2014/main" id="{02082708-B8C1-217E-83E2-7ABAFF3F552E}"/>
              </a:ext>
            </a:extLst>
          </p:cNvPr>
          <p:cNvSpPr txBox="1"/>
          <p:nvPr/>
        </p:nvSpPr>
        <p:spPr>
          <a:xfrm>
            <a:off x="10257395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48" name="TextBox 447">
            <a:extLst>
              <a:ext uri="{FF2B5EF4-FFF2-40B4-BE49-F238E27FC236}">
                <a16:creationId xmlns:a16="http://schemas.microsoft.com/office/drawing/2014/main" id="{23C05796-1E40-4358-FC7A-46A50E69545C}"/>
              </a:ext>
            </a:extLst>
          </p:cNvPr>
          <p:cNvSpPr txBox="1"/>
          <p:nvPr/>
        </p:nvSpPr>
        <p:spPr>
          <a:xfrm>
            <a:off x="10479420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14DE4321-02E6-A2BD-9D36-BD5112D9EA45}"/>
              </a:ext>
            </a:extLst>
          </p:cNvPr>
          <p:cNvSpPr txBox="1"/>
          <p:nvPr/>
        </p:nvSpPr>
        <p:spPr>
          <a:xfrm>
            <a:off x="10705541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7B4D9571-CD88-9FF8-1414-A6E8F53FC106}"/>
              </a:ext>
            </a:extLst>
          </p:cNvPr>
          <p:cNvSpPr txBox="1"/>
          <p:nvPr/>
        </p:nvSpPr>
        <p:spPr>
          <a:xfrm>
            <a:off x="10934221" y="4727472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8240850B-52FE-5D03-7EE1-15352904E57E}"/>
              </a:ext>
            </a:extLst>
          </p:cNvPr>
          <p:cNvSpPr txBox="1"/>
          <p:nvPr/>
        </p:nvSpPr>
        <p:spPr>
          <a:xfrm>
            <a:off x="2039086" y="4852565"/>
            <a:ext cx="1330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0)</a:t>
            </a: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F0FCC96F-63A9-2684-54BE-F14E338CADF5}"/>
              </a:ext>
            </a:extLst>
          </p:cNvPr>
          <p:cNvSpPr txBox="1"/>
          <p:nvPr/>
        </p:nvSpPr>
        <p:spPr>
          <a:xfrm>
            <a:off x="2265263" y="4852565"/>
            <a:ext cx="12824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)</a:t>
            </a: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F325F08A-68D5-82F2-5BC4-36F58AA4FCE9}"/>
              </a:ext>
            </a:extLst>
          </p:cNvPr>
          <p:cNvSpPr txBox="1"/>
          <p:nvPr/>
        </p:nvSpPr>
        <p:spPr>
          <a:xfrm>
            <a:off x="2460081" y="4852565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4)</a:t>
            </a: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9B26BE08-5BC1-3F12-5C02-2AC438D48847}"/>
              </a:ext>
            </a:extLst>
          </p:cNvPr>
          <p:cNvSpPr txBox="1"/>
          <p:nvPr/>
        </p:nvSpPr>
        <p:spPr>
          <a:xfrm>
            <a:off x="2690260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3)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0081E2E3-B172-441A-2DFF-5713D619378A}"/>
              </a:ext>
            </a:extLst>
          </p:cNvPr>
          <p:cNvSpPr txBox="1"/>
          <p:nvPr/>
        </p:nvSpPr>
        <p:spPr>
          <a:xfrm>
            <a:off x="2916438" y="4852565"/>
            <a:ext cx="17472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7)</a:t>
            </a: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ECCBF38D-8160-D72D-A4C8-AF864E1FE18F}"/>
              </a:ext>
            </a:extLst>
          </p:cNvPr>
          <p:cNvSpPr txBox="1"/>
          <p:nvPr/>
        </p:nvSpPr>
        <p:spPr>
          <a:xfrm>
            <a:off x="3142614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3)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18B9ADA7-384E-B3FC-3F74-BBE6AB997ED4}"/>
              </a:ext>
            </a:extLst>
          </p:cNvPr>
          <p:cNvSpPr txBox="1"/>
          <p:nvPr/>
        </p:nvSpPr>
        <p:spPr>
          <a:xfrm>
            <a:off x="3372793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7)</a:t>
            </a: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id="{460949CA-00EF-A0C3-A832-8142611741C1}"/>
              </a:ext>
            </a:extLst>
          </p:cNvPr>
          <p:cNvSpPr txBox="1"/>
          <p:nvPr/>
        </p:nvSpPr>
        <p:spPr>
          <a:xfrm>
            <a:off x="3609201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5)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836ED244-B897-AF0A-A8BF-EB204C158485}"/>
              </a:ext>
            </a:extLst>
          </p:cNvPr>
          <p:cNvSpPr txBox="1"/>
          <p:nvPr/>
        </p:nvSpPr>
        <p:spPr>
          <a:xfrm>
            <a:off x="3825147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9)</a:t>
            </a: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4A5EA1CE-3A8D-B907-8437-BB484E182CAC}"/>
              </a:ext>
            </a:extLst>
          </p:cNvPr>
          <p:cNvSpPr txBox="1"/>
          <p:nvPr/>
        </p:nvSpPr>
        <p:spPr>
          <a:xfrm>
            <a:off x="4051325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2)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30904CC4-3686-7FF9-790F-B85E2C7D5D4E}"/>
              </a:ext>
            </a:extLst>
          </p:cNvPr>
          <p:cNvSpPr txBox="1"/>
          <p:nvPr/>
        </p:nvSpPr>
        <p:spPr>
          <a:xfrm>
            <a:off x="4274180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9)</a:t>
            </a:r>
          </a:p>
        </p:txBody>
      </p:sp>
      <p:sp>
        <p:nvSpPr>
          <p:cNvPr id="462" name="TextBox 461">
            <a:extLst>
              <a:ext uri="{FF2B5EF4-FFF2-40B4-BE49-F238E27FC236}">
                <a16:creationId xmlns:a16="http://schemas.microsoft.com/office/drawing/2014/main" id="{FE2B873A-3CCC-B842-4619-6FC994A02CA1}"/>
              </a:ext>
            </a:extLst>
          </p:cNvPr>
          <p:cNvSpPr txBox="1"/>
          <p:nvPr/>
        </p:nvSpPr>
        <p:spPr>
          <a:xfrm>
            <a:off x="4506603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63" name="TextBox 462">
            <a:extLst>
              <a:ext uri="{FF2B5EF4-FFF2-40B4-BE49-F238E27FC236}">
                <a16:creationId xmlns:a16="http://schemas.microsoft.com/office/drawing/2014/main" id="{858AFE55-5989-1BE8-2D37-208320F28E68}"/>
              </a:ext>
            </a:extLst>
          </p:cNvPr>
          <p:cNvSpPr txBox="1"/>
          <p:nvPr/>
        </p:nvSpPr>
        <p:spPr>
          <a:xfrm>
            <a:off x="4732809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64" name="TextBox 463">
            <a:extLst>
              <a:ext uri="{FF2B5EF4-FFF2-40B4-BE49-F238E27FC236}">
                <a16:creationId xmlns:a16="http://schemas.microsoft.com/office/drawing/2014/main" id="{D9FA9953-7464-683B-29E2-2C7D98CAAFBC}"/>
              </a:ext>
            </a:extLst>
          </p:cNvPr>
          <p:cNvSpPr txBox="1"/>
          <p:nvPr/>
        </p:nvSpPr>
        <p:spPr>
          <a:xfrm>
            <a:off x="4959283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4)</a:t>
            </a:r>
          </a:p>
        </p:txBody>
      </p:sp>
      <p:sp>
        <p:nvSpPr>
          <p:cNvPr id="465" name="TextBox 464">
            <a:extLst>
              <a:ext uri="{FF2B5EF4-FFF2-40B4-BE49-F238E27FC236}">
                <a16:creationId xmlns:a16="http://schemas.microsoft.com/office/drawing/2014/main" id="{E67CC15B-56A2-66AF-6566-463FE7387B3D}"/>
              </a:ext>
            </a:extLst>
          </p:cNvPr>
          <p:cNvSpPr txBox="1"/>
          <p:nvPr/>
        </p:nvSpPr>
        <p:spPr>
          <a:xfrm>
            <a:off x="5188395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6)</a:t>
            </a:r>
          </a:p>
        </p:txBody>
      </p:sp>
      <p:sp>
        <p:nvSpPr>
          <p:cNvPr id="466" name="TextBox 465">
            <a:extLst>
              <a:ext uri="{FF2B5EF4-FFF2-40B4-BE49-F238E27FC236}">
                <a16:creationId xmlns:a16="http://schemas.microsoft.com/office/drawing/2014/main" id="{6CAA3553-E53B-CFFA-F1FB-41E339EB4E40}"/>
              </a:ext>
            </a:extLst>
          </p:cNvPr>
          <p:cNvSpPr txBox="1"/>
          <p:nvPr/>
        </p:nvSpPr>
        <p:spPr>
          <a:xfrm>
            <a:off x="5413470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8)</a:t>
            </a:r>
          </a:p>
        </p:txBody>
      </p:sp>
      <p:sp>
        <p:nvSpPr>
          <p:cNvPr id="467" name="TextBox 466">
            <a:extLst>
              <a:ext uri="{FF2B5EF4-FFF2-40B4-BE49-F238E27FC236}">
                <a16:creationId xmlns:a16="http://schemas.microsoft.com/office/drawing/2014/main" id="{CD38E599-CEBC-142D-432F-96C727984DB6}"/>
              </a:ext>
            </a:extLst>
          </p:cNvPr>
          <p:cNvSpPr txBox="1"/>
          <p:nvPr/>
        </p:nvSpPr>
        <p:spPr>
          <a:xfrm>
            <a:off x="5644581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8)</a:t>
            </a:r>
          </a:p>
        </p:txBody>
      </p:sp>
      <p:sp>
        <p:nvSpPr>
          <p:cNvPr id="468" name="TextBox 467">
            <a:extLst>
              <a:ext uri="{FF2B5EF4-FFF2-40B4-BE49-F238E27FC236}">
                <a16:creationId xmlns:a16="http://schemas.microsoft.com/office/drawing/2014/main" id="{880165E6-F697-2A61-C322-63C5A2DA4D57}"/>
              </a:ext>
            </a:extLst>
          </p:cNvPr>
          <p:cNvSpPr txBox="1"/>
          <p:nvPr/>
        </p:nvSpPr>
        <p:spPr>
          <a:xfrm>
            <a:off x="5868913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8)</a:t>
            </a:r>
          </a:p>
        </p:txBody>
      </p:sp>
      <p:sp>
        <p:nvSpPr>
          <p:cNvPr id="469" name="TextBox 468">
            <a:extLst>
              <a:ext uri="{FF2B5EF4-FFF2-40B4-BE49-F238E27FC236}">
                <a16:creationId xmlns:a16="http://schemas.microsoft.com/office/drawing/2014/main" id="{2426DA34-9F90-2484-843C-6A54ECA7154D}"/>
              </a:ext>
            </a:extLst>
          </p:cNvPr>
          <p:cNvSpPr txBox="1"/>
          <p:nvPr/>
        </p:nvSpPr>
        <p:spPr>
          <a:xfrm>
            <a:off x="6095335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0)</a:t>
            </a:r>
          </a:p>
        </p:txBody>
      </p:sp>
      <p:sp>
        <p:nvSpPr>
          <p:cNvPr id="470" name="TextBox 469">
            <a:extLst>
              <a:ext uri="{FF2B5EF4-FFF2-40B4-BE49-F238E27FC236}">
                <a16:creationId xmlns:a16="http://schemas.microsoft.com/office/drawing/2014/main" id="{02EDA896-0268-FE09-BB6A-3B5A6C63E8FE}"/>
              </a:ext>
            </a:extLst>
          </p:cNvPr>
          <p:cNvSpPr txBox="1"/>
          <p:nvPr/>
        </p:nvSpPr>
        <p:spPr>
          <a:xfrm>
            <a:off x="6325556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3)</a:t>
            </a:r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90BF9E7E-79D1-0AC4-0B98-EAE70702AF7A}"/>
              </a:ext>
            </a:extLst>
          </p:cNvPr>
          <p:cNvSpPr txBox="1"/>
          <p:nvPr/>
        </p:nvSpPr>
        <p:spPr>
          <a:xfrm>
            <a:off x="6546842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6)</a:t>
            </a:r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32DE50A9-EFFE-E155-9A1A-BF74BA70335E}"/>
              </a:ext>
            </a:extLst>
          </p:cNvPr>
          <p:cNvSpPr txBox="1"/>
          <p:nvPr/>
        </p:nvSpPr>
        <p:spPr>
          <a:xfrm>
            <a:off x="6774966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0791F705-9E0E-39FF-5D1D-3CDA6D156F6D}"/>
              </a:ext>
            </a:extLst>
          </p:cNvPr>
          <p:cNvSpPr txBox="1"/>
          <p:nvPr/>
        </p:nvSpPr>
        <p:spPr>
          <a:xfrm>
            <a:off x="7004898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4" name="TextBox 473">
            <a:extLst>
              <a:ext uri="{FF2B5EF4-FFF2-40B4-BE49-F238E27FC236}">
                <a16:creationId xmlns:a16="http://schemas.microsoft.com/office/drawing/2014/main" id="{D2424870-232C-BFA5-F027-9489C790D1F3}"/>
              </a:ext>
            </a:extLst>
          </p:cNvPr>
          <p:cNvSpPr txBox="1"/>
          <p:nvPr/>
        </p:nvSpPr>
        <p:spPr>
          <a:xfrm>
            <a:off x="7228309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5" name="TextBox 474">
            <a:extLst>
              <a:ext uri="{FF2B5EF4-FFF2-40B4-BE49-F238E27FC236}">
                <a16:creationId xmlns:a16="http://schemas.microsoft.com/office/drawing/2014/main" id="{97EB5FD2-556B-414F-CA9E-4FCE09F38785}"/>
              </a:ext>
            </a:extLst>
          </p:cNvPr>
          <p:cNvSpPr txBox="1"/>
          <p:nvPr/>
        </p:nvSpPr>
        <p:spPr>
          <a:xfrm>
            <a:off x="7458239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6" name="TextBox 475">
            <a:extLst>
              <a:ext uri="{FF2B5EF4-FFF2-40B4-BE49-F238E27FC236}">
                <a16:creationId xmlns:a16="http://schemas.microsoft.com/office/drawing/2014/main" id="{70E5E98C-FF12-F53E-E9AE-F0B2BC1C829C}"/>
              </a:ext>
            </a:extLst>
          </p:cNvPr>
          <p:cNvSpPr txBox="1"/>
          <p:nvPr/>
        </p:nvSpPr>
        <p:spPr>
          <a:xfrm>
            <a:off x="7683855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5AF42043-2606-C001-44FC-93B77771FF11}"/>
              </a:ext>
            </a:extLst>
          </p:cNvPr>
          <p:cNvSpPr txBox="1"/>
          <p:nvPr/>
        </p:nvSpPr>
        <p:spPr>
          <a:xfrm>
            <a:off x="7913608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8)</a:t>
            </a:r>
          </a:p>
        </p:txBody>
      </p:sp>
      <p:sp>
        <p:nvSpPr>
          <p:cNvPr id="478" name="TextBox 477">
            <a:extLst>
              <a:ext uri="{FF2B5EF4-FFF2-40B4-BE49-F238E27FC236}">
                <a16:creationId xmlns:a16="http://schemas.microsoft.com/office/drawing/2014/main" id="{7B18A460-FA1A-315E-6EB4-3D105F49FAF0}"/>
              </a:ext>
            </a:extLst>
          </p:cNvPr>
          <p:cNvSpPr txBox="1"/>
          <p:nvPr/>
        </p:nvSpPr>
        <p:spPr>
          <a:xfrm>
            <a:off x="8135429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8)</a:t>
            </a:r>
          </a:p>
        </p:txBody>
      </p:sp>
      <p:sp>
        <p:nvSpPr>
          <p:cNvPr id="479" name="TextBox 478">
            <a:extLst>
              <a:ext uri="{FF2B5EF4-FFF2-40B4-BE49-F238E27FC236}">
                <a16:creationId xmlns:a16="http://schemas.microsoft.com/office/drawing/2014/main" id="{26FD0028-5F28-EBF4-BB6C-DAF45253D622}"/>
              </a:ext>
            </a:extLst>
          </p:cNvPr>
          <p:cNvSpPr txBox="1"/>
          <p:nvPr/>
        </p:nvSpPr>
        <p:spPr>
          <a:xfrm>
            <a:off x="8367065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9)</a:t>
            </a:r>
          </a:p>
        </p:txBody>
      </p:sp>
      <p:sp>
        <p:nvSpPr>
          <p:cNvPr id="480" name="TextBox 479">
            <a:extLst>
              <a:ext uri="{FF2B5EF4-FFF2-40B4-BE49-F238E27FC236}">
                <a16:creationId xmlns:a16="http://schemas.microsoft.com/office/drawing/2014/main" id="{CA003A99-3EF4-9144-41FC-ABED3BC3D1C0}"/>
              </a:ext>
            </a:extLst>
          </p:cNvPr>
          <p:cNvSpPr txBox="1"/>
          <p:nvPr/>
        </p:nvSpPr>
        <p:spPr>
          <a:xfrm>
            <a:off x="8593102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1" name="TextBox 480">
            <a:extLst>
              <a:ext uri="{FF2B5EF4-FFF2-40B4-BE49-F238E27FC236}">
                <a16:creationId xmlns:a16="http://schemas.microsoft.com/office/drawing/2014/main" id="{D575C9B8-D670-A94C-DF5C-B0BADEF77341}"/>
              </a:ext>
            </a:extLst>
          </p:cNvPr>
          <p:cNvSpPr txBox="1"/>
          <p:nvPr/>
        </p:nvSpPr>
        <p:spPr>
          <a:xfrm>
            <a:off x="8818869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D3ECD072-38D9-190A-6F1D-F511FC04A136}"/>
              </a:ext>
            </a:extLst>
          </p:cNvPr>
          <p:cNvSpPr txBox="1"/>
          <p:nvPr/>
        </p:nvSpPr>
        <p:spPr>
          <a:xfrm>
            <a:off x="9046664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F6B4424A-537E-619C-501C-28CE48AF24F2}"/>
              </a:ext>
            </a:extLst>
          </p:cNvPr>
          <p:cNvSpPr txBox="1"/>
          <p:nvPr/>
        </p:nvSpPr>
        <p:spPr>
          <a:xfrm>
            <a:off x="9274799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9AEC9864-ACE6-FD18-E44E-43AF8B5988A9}"/>
              </a:ext>
            </a:extLst>
          </p:cNvPr>
          <p:cNvSpPr txBox="1"/>
          <p:nvPr/>
        </p:nvSpPr>
        <p:spPr>
          <a:xfrm>
            <a:off x="9499797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DE43306A-51EB-69FC-0C1C-E622E122583A}"/>
              </a:ext>
            </a:extLst>
          </p:cNvPr>
          <p:cNvSpPr txBox="1"/>
          <p:nvPr/>
        </p:nvSpPr>
        <p:spPr>
          <a:xfrm>
            <a:off x="9724425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66773229-4109-25B1-E391-0F254F3ACA5D}"/>
              </a:ext>
            </a:extLst>
          </p:cNvPr>
          <p:cNvSpPr txBox="1"/>
          <p:nvPr/>
        </p:nvSpPr>
        <p:spPr>
          <a:xfrm>
            <a:off x="9958540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58C835D3-D174-44BA-747C-902D949480F8}"/>
              </a:ext>
            </a:extLst>
          </p:cNvPr>
          <p:cNvSpPr txBox="1"/>
          <p:nvPr/>
        </p:nvSpPr>
        <p:spPr>
          <a:xfrm>
            <a:off x="10187697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7B3806CA-016B-B024-4533-0F06FDEA95A8}"/>
              </a:ext>
            </a:extLst>
          </p:cNvPr>
          <p:cNvSpPr txBox="1"/>
          <p:nvPr/>
        </p:nvSpPr>
        <p:spPr>
          <a:xfrm>
            <a:off x="10409722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9" name="TextBox 488">
            <a:extLst>
              <a:ext uri="{FF2B5EF4-FFF2-40B4-BE49-F238E27FC236}">
                <a16:creationId xmlns:a16="http://schemas.microsoft.com/office/drawing/2014/main" id="{93F18720-1F6D-8D03-5314-556B239C1B51}"/>
              </a:ext>
            </a:extLst>
          </p:cNvPr>
          <p:cNvSpPr txBox="1"/>
          <p:nvPr/>
        </p:nvSpPr>
        <p:spPr>
          <a:xfrm>
            <a:off x="10635843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536E64C2-28A0-8ED9-81D3-F966F1347D5B}"/>
              </a:ext>
            </a:extLst>
          </p:cNvPr>
          <p:cNvSpPr txBox="1"/>
          <p:nvPr/>
        </p:nvSpPr>
        <p:spPr>
          <a:xfrm>
            <a:off x="10864522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91" name="TextBox 490">
            <a:extLst>
              <a:ext uri="{FF2B5EF4-FFF2-40B4-BE49-F238E27FC236}">
                <a16:creationId xmlns:a16="http://schemas.microsoft.com/office/drawing/2014/main" id="{6CC9DCD7-978F-4676-E770-A19087F60A70}"/>
              </a:ext>
            </a:extLst>
          </p:cNvPr>
          <p:cNvSpPr txBox="1"/>
          <p:nvPr/>
        </p:nvSpPr>
        <p:spPr>
          <a:xfrm>
            <a:off x="976294" y="4799406"/>
            <a:ext cx="20037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PVd</a:t>
            </a:r>
            <a:endParaRPr kumimoji="0" lang="en-US" sz="800" b="1" i="0" u="none" strike="noStrike" kern="1200" cap="none" spc="0" normalizeH="0" baseline="0" noProof="0">
              <a:ln/>
              <a:solidFill>
                <a:srgbClr val="95959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  <a:rtl val="0"/>
            </a:endParaRP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14283653-6AD1-5262-DF63-F6A013673393}"/>
              </a:ext>
            </a:extLst>
          </p:cNvPr>
          <p:cNvSpPr txBox="1"/>
          <p:nvPr/>
        </p:nvSpPr>
        <p:spPr>
          <a:xfrm>
            <a:off x="5085539" y="4048752"/>
            <a:ext cx="23839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Time since randomization, months</a:t>
            </a:r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00B5F948-6E12-50AE-F9E2-94D261A31193}"/>
              </a:ext>
            </a:extLst>
          </p:cNvPr>
          <p:cNvSpPr txBox="1"/>
          <p:nvPr/>
        </p:nvSpPr>
        <p:spPr>
          <a:xfrm>
            <a:off x="2061310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95C983B1-2947-2943-1C8A-DC5CE15F9BC0}"/>
              </a:ext>
            </a:extLst>
          </p:cNvPr>
          <p:cNvSpPr txBox="1"/>
          <p:nvPr/>
        </p:nvSpPr>
        <p:spPr>
          <a:xfrm>
            <a:off x="2287488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AB9F5B1D-F2E4-4251-120A-9FD26512FFB1}"/>
              </a:ext>
            </a:extLst>
          </p:cNvPr>
          <p:cNvSpPr txBox="1"/>
          <p:nvPr/>
        </p:nvSpPr>
        <p:spPr>
          <a:xfrm>
            <a:off x="2513619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5948EDF8-7575-A746-B540-B1FD72AA04F7}"/>
              </a:ext>
            </a:extLst>
          </p:cNvPr>
          <p:cNvSpPr txBox="1"/>
          <p:nvPr/>
        </p:nvSpPr>
        <p:spPr>
          <a:xfrm>
            <a:off x="2743798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E0B33CEE-EF6C-7E0F-2464-FA7216D2A28B}"/>
              </a:ext>
            </a:extLst>
          </p:cNvPr>
          <p:cNvSpPr txBox="1"/>
          <p:nvPr/>
        </p:nvSpPr>
        <p:spPr>
          <a:xfrm>
            <a:off x="2969975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4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0B75742D-A087-D828-10EB-191CA7BF3B7D}"/>
              </a:ext>
            </a:extLst>
          </p:cNvPr>
          <p:cNvSpPr txBox="1"/>
          <p:nvPr/>
        </p:nvSpPr>
        <p:spPr>
          <a:xfrm>
            <a:off x="3196152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5</a:t>
            </a: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150A7F41-3133-D19D-78CF-0D6E5278D877}"/>
              </a:ext>
            </a:extLst>
          </p:cNvPr>
          <p:cNvSpPr txBox="1"/>
          <p:nvPr/>
        </p:nvSpPr>
        <p:spPr>
          <a:xfrm>
            <a:off x="3426331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6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903BD3EA-FD73-9881-DC97-8ABBAC9AAC1F}"/>
              </a:ext>
            </a:extLst>
          </p:cNvPr>
          <p:cNvSpPr txBox="1"/>
          <p:nvPr/>
        </p:nvSpPr>
        <p:spPr>
          <a:xfrm>
            <a:off x="3653097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7</a:t>
            </a:r>
          </a:p>
        </p:txBody>
      </p:sp>
      <p:sp>
        <p:nvSpPr>
          <p:cNvPr id="501" name="TextBox 500">
            <a:extLst>
              <a:ext uri="{FF2B5EF4-FFF2-40B4-BE49-F238E27FC236}">
                <a16:creationId xmlns:a16="http://schemas.microsoft.com/office/drawing/2014/main" id="{3EA32BF1-347F-2711-95DF-38FDB3C7D916}"/>
              </a:ext>
            </a:extLst>
          </p:cNvPr>
          <p:cNvSpPr txBox="1"/>
          <p:nvPr/>
        </p:nvSpPr>
        <p:spPr>
          <a:xfrm>
            <a:off x="3878685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8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D383C4EF-5F0C-BDFD-CBD7-8FF3EFBE5A68}"/>
              </a:ext>
            </a:extLst>
          </p:cNvPr>
          <p:cNvSpPr txBox="1"/>
          <p:nvPr/>
        </p:nvSpPr>
        <p:spPr>
          <a:xfrm>
            <a:off x="4104863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9</a:t>
            </a: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B537CFDA-24CB-8AEE-2B2D-4836BFDF0AB8}"/>
              </a:ext>
            </a:extLst>
          </p:cNvPr>
          <p:cNvSpPr txBox="1"/>
          <p:nvPr/>
        </p:nvSpPr>
        <p:spPr>
          <a:xfrm>
            <a:off x="4280241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0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7995B84A-3B21-BEB2-38F9-8B478FF301C4}"/>
              </a:ext>
            </a:extLst>
          </p:cNvPr>
          <p:cNvSpPr txBox="1"/>
          <p:nvPr/>
        </p:nvSpPr>
        <p:spPr>
          <a:xfrm>
            <a:off x="4512664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1</a:t>
            </a:r>
          </a:p>
        </p:txBody>
      </p:sp>
      <p:sp>
        <p:nvSpPr>
          <p:cNvPr id="505" name="TextBox 504">
            <a:extLst>
              <a:ext uri="{FF2B5EF4-FFF2-40B4-BE49-F238E27FC236}">
                <a16:creationId xmlns:a16="http://schemas.microsoft.com/office/drawing/2014/main" id="{A31F71EC-BD2D-D421-55BC-4BB3D01B34BE}"/>
              </a:ext>
            </a:extLst>
          </p:cNvPr>
          <p:cNvSpPr txBox="1"/>
          <p:nvPr/>
        </p:nvSpPr>
        <p:spPr>
          <a:xfrm>
            <a:off x="473887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2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F548F72A-EB33-D4A2-E43C-85FDACBA6466}"/>
              </a:ext>
            </a:extLst>
          </p:cNvPr>
          <p:cNvSpPr txBox="1"/>
          <p:nvPr/>
        </p:nvSpPr>
        <p:spPr>
          <a:xfrm>
            <a:off x="4965344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3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D7444158-45FE-ED31-7391-9B50A15639CD}"/>
              </a:ext>
            </a:extLst>
          </p:cNvPr>
          <p:cNvSpPr txBox="1"/>
          <p:nvPr/>
        </p:nvSpPr>
        <p:spPr>
          <a:xfrm>
            <a:off x="519445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4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312B47C8-8660-2FF1-0BA7-583C4EADBCA1}"/>
              </a:ext>
            </a:extLst>
          </p:cNvPr>
          <p:cNvSpPr txBox="1"/>
          <p:nvPr/>
        </p:nvSpPr>
        <p:spPr>
          <a:xfrm>
            <a:off x="5419531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5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8D7DC6E8-0BA5-8D25-7E47-602D869E0384}"/>
              </a:ext>
            </a:extLst>
          </p:cNvPr>
          <p:cNvSpPr txBox="1"/>
          <p:nvPr/>
        </p:nvSpPr>
        <p:spPr>
          <a:xfrm>
            <a:off x="5650642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6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D4291803-EEA9-83AB-DFD7-F1DAD7EF6567}"/>
              </a:ext>
            </a:extLst>
          </p:cNvPr>
          <p:cNvSpPr txBox="1"/>
          <p:nvPr/>
        </p:nvSpPr>
        <p:spPr>
          <a:xfrm>
            <a:off x="5874974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7</a:t>
            </a: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9D56563F-1650-1375-B445-F0AC4A17E639}"/>
              </a:ext>
            </a:extLst>
          </p:cNvPr>
          <p:cNvSpPr txBox="1"/>
          <p:nvPr/>
        </p:nvSpPr>
        <p:spPr>
          <a:xfrm>
            <a:off x="610139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572D4BF0-02C2-8548-739B-4AFE44522F2B}"/>
              </a:ext>
            </a:extLst>
          </p:cNvPr>
          <p:cNvSpPr txBox="1"/>
          <p:nvPr/>
        </p:nvSpPr>
        <p:spPr>
          <a:xfrm>
            <a:off x="633161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9</a:t>
            </a:r>
          </a:p>
        </p:txBody>
      </p:sp>
      <p:sp>
        <p:nvSpPr>
          <p:cNvPr id="513" name="TextBox 512">
            <a:extLst>
              <a:ext uri="{FF2B5EF4-FFF2-40B4-BE49-F238E27FC236}">
                <a16:creationId xmlns:a16="http://schemas.microsoft.com/office/drawing/2014/main" id="{900496FA-0407-ED62-A202-8411C5626646}"/>
              </a:ext>
            </a:extLst>
          </p:cNvPr>
          <p:cNvSpPr txBox="1"/>
          <p:nvPr/>
        </p:nvSpPr>
        <p:spPr>
          <a:xfrm>
            <a:off x="655290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0</a:t>
            </a: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3DB59A46-6ADB-2342-8A04-63C40243F718}"/>
              </a:ext>
            </a:extLst>
          </p:cNvPr>
          <p:cNvSpPr txBox="1"/>
          <p:nvPr/>
        </p:nvSpPr>
        <p:spPr>
          <a:xfrm>
            <a:off x="678102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1</a:t>
            </a:r>
          </a:p>
        </p:txBody>
      </p:sp>
      <p:sp>
        <p:nvSpPr>
          <p:cNvPr id="515" name="TextBox 514">
            <a:extLst>
              <a:ext uri="{FF2B5EF4-FFF2-40B4-BE49-F238E27FC236}">
                <a16:creationId xmlns:a16="http://schemas.microsoft.com/office/drawing/2014/main" id="{41705E91-A193-6742-602D-06F0942D9E96}"/>
              </a:ext>
            </a:extLst>
          </p:cNvPr>
          <p:cNvSpPr txBox="1"/>
          <p:nvPr/>
        </p:nvSpPr>
        <p:spPr>
          <a:xfrm>
            <a:off x="7010958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2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A7CC8E3A-300E-FC24-74B9-52EB7028E9A1}"/>
              </a:ext>
            </a:extLst>
          </p:cNvPr>
          <p:cNvSpPr txBox="1"/>
          <p:nvPr/>
        </p:nvSpPr>
        <p:spPr>
          <a:xfrm>
            <a:off x="723437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3</a:t>
            </a:r>
          </a:p>
        </p:txBody>
      </p:sp>
      <p:sp>
        <p:nvSpPr>
          <p:cNvPr id="517" name="TextBox 516">
            <a:extLst>
              <a:ext uri="{FF2B5EF4-FFF2-40B4-BE49-F238E27FC236}">
                <a16:creationId xmlns:a16="http://schemas.microsoft.com/office/drawing/2014/main" id="{F07DDBD3-14E9-6751-6C02-80BE98BD7FB3}"/>
              </a:ext>
            </a:extLst>
          </p:cNvPr>
          <p:cNvSpPr txBox="1"/>
          <p:nvPr/>
        </p:nvSpPr>
        <p:spPr>
          <a:xfrm>
            <a:off x="7464299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4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497E621C-BA81-673A-E1C6-96A34497D98A}"/>
              </a:ext>
            </a:extLst>
          </p:cNvPr>
          <p:cNvSpPr txBox="1"/>
          <p:nvPr/>
        </p:nvSpPr>
        <p:spPr>
          <a:xfrm>
            <a:off x="768991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AE50378C-C2D8-79CA-5EF8-2E4063B343EE}"/>
              </a:ext>
            </a:extLst>
          </p:cNvPr>
          <p:cNvSpPr txBox="1"/>
          <p:nvPr/>
        </p:nvSpPr>
        <p:spPr>
          <a:xfrm>
            <a:off x="7919669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6</a:t>
            </a: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CA923D8F-5603-4042-E6EF-D27111706337}"/>
              </a:ext>
            </a:extLst>
          </p:cNvPr>
          <p:cNvSpPr txBox="1"/>
          <p:nvPr/>
        </p:nvSpPr>
        <p:spPr>
          <a:xfrm>
            <a:off x="814149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7</a:t>
            </a:r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5D76042E-2F1D-43B7-4161-EA434709ED1B}"/>
              </a:ext>
            </a:extLst>
          </p:cNvPr>
          <p:cNvSpPr txBox="1"/>
          <p:nvPr/>
        </p:nvSpPr>
        <p:spPr>
          <a:xfrm>
            <a:off x="837312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8</a:t>
            </a: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8B705D7A-52E4-CBD2-612E-04789E5F6303}"/>
              </a:ext>
            </a:extLst>
          </p:cNvPr>
          <p:cNvSpPr txBox="1"/>
          <p:nvPr/>
        </p:nvSpPr>
        <p:spPr>
          <a:xfrm>
            <a:off x="859916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9</a:t>
            </a:r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8340B80E-43D6-D039-6BA7-2FFA6DCA3015}"/>
              </a:ext>
            </a:extLst>
          </p:cNvPr>
          <p:cNvSpPr txBox="1"/>
          <p:nvPr/>
        </p:nvSpPr>
        <p:spPr>
          <a:xfrm>
            <a:off x="8824929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76087BF0-1E46-D187-8C3C-79CDDD1571F7}"/>
              </a:ext>
            </a:extLst>
          </p:cNvPr>
          <p:cNvSpPr txBox="1"/>
          <p:nvPr/>
        </p:nvSpPr>
        <p:spPr>
          <a:xfrm>
            <a:off x="9052725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1</a:t>
            </a:r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9BE6BD50-2979-AA8D-935B-01FD900B116B}"/>
              </a:ext>
            </a:extLst>
          </p:cNvPr>
          <p:cNvSpPr txBox="1"/>
          <p:nvPr/>
        </p:nvSpPr>
        <p:spPr>
          <a:xfrm>
            <a:off x="928086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2</a:t>
            </a: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D9B926FB-411F-AC6B-E5B6-1B88F0E221BB}"/>
              </a:ext>
            </a:extLst>
          </p:cNvPr>
          <p:cNvSpPr txBox="1"/>
          <p:nvPr/>
        </p:nvSpPr>
        <p:spPr>
          <a:xfrm>
            <a:off x="9505858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3</a:t>
            </a:r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3356A203-3756-5CEA-1FE7-1E8447FCF7F4}"/>
              </a:ext>
            </a:extLst>
          </p:cNvPr>
          <p:cNvSpPr txBox="1"/>
          <p:nvPr/>
        </p:nvSpPr>
        <p:spPr>
          <a:xfrm>
            <a:off x="973048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4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E2B59E9D-B9D6-722D-0B94-6349E1B7EEE2}"/>
              </a:ext>
            </a:extLst>
          </p:cNvPr>
          <p:cNvSpPr txBox="1"/>
          <p:nvPr/>
        </p:nvSpPr>
        <p:spPr>
          <a:xfrm>
            <a:off x="9964601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5</a:t>
            </a: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D2B94950-039A-D523-BEFE-7D4CF0BCD328}"/>
              </a:ext>
            </a:extLst>
          </p:cNvPr>
          <p:cNvSpPr txBox="1"/>
          <p:nvPr/>
        </p:nvSpPr>
        <p:spPr>
          <a:xfrm>
            <a:off x="10193758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C989BDEC-4EE7-AE04-F344-4A9181D5BCD6}"/>
              </a:ext>
            </a:extLst>
          </p:cNvPr>
          <p:cNvSpPr txBox="1"/>
          <p:nvPr/>
        </p:nvSpPr>
        <p:spPr>
          <a:xfrm>
            <a:off x="1041578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7</a:t>
            </a: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10FFD471-DFD4-5E72-BA90-637F21A83678}"/>
              </a:ext>
            </a:extLst>
          </p:cNvPr>
          <p:cNvSpPr txBox="1"/>
          <p:nvPr/>
        </p:nvSpPr>
        <p:spPr>
          <a:xfrm>
            <a:off x="1064190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8</a:t>
            </a: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EC0D08F3-2C7E-4F4A-776C-6407BF656D4F}"/>
              </a:ext>
            </a:extLst>
          </p:cNvPr>
          <p:cNvSpPr txBox="1"/>
          <p:nvPr/>
        </p:nvSpPr>
        <p:spPr>
          <a:xfrm>
            <a:off x="1087058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9</a:t>
            </a:r>
          </a:p>
        </p:txBody>
      </p:sp>
      <p:grpSp>
        <p:nvGrpSpPr>
          <p:cNvPr id="544" name="Group 543">
            <a:extLst>
              <a:ext uri="{FF2B5EF4-FFF2-40B4-BE49-F238E27FC236}">
                <a16:creationId xmlns:a16="http://schemas.microsoft.com/office/drawing/2014/main" id="{446971CD-F56F-EE82-DB6D-7EDC678256B4}"/>
              </a:ext>
            </a:extLst>
          </p:cNvPr>
          <p:cNvGrpSpPr/>
          <p:nvPr/>
        </p:nvGrpSpPr>
        <p:grpSpPr>
          <a:xfrm>
            <a:off x="2045464" y="3195008"/>
            <a:ext cx="808348" cy="577688"/>
            <a:chOff x="2054989" y="3537908"/>
            <a:chExt cx="808348" cy="577688"/>
          </a:xfrm>
        </p:grpSpPr>
        <p:sp>
          <p:nvSpPr>
            <p:cNvPr id="533" name="Freeform: Shape 1183">
              <a:extLst>
                <a:ext uri="{FF2B5EF4-FFF2-40B4-BE49-F238E27FC236}">
                  <a16:creationId xmlns:a16="http://schemas.microsoft.com/office/drawing/2014/main" id="{6E86D022-8D64-C096-86B2-A5B616152BE4}"/>
                </a:ext>
              </a:extLst>
            </p:cNvPr>
            <p:cNvSpPr/>
            <p:nvPr/>
          </p:nvSpPr>
          <p:spPr>
            <a:xfrm flipV="1">
              <a:off x="2054989" y="3956007"/>
              <a:ext cx="289240" cy="45719"/>
            </a:xfrm>
            <a:custGeom>
              <a:avLst/>
              <a:gdLst>
                <a:gd name="connsiteX0" fmla="*/ 0 w 494537"/>
                <a:gd name="connsiteY0" fmla="*/ 0 h 9525"/>
                <a:gd name="connsiteX1" fmla="*/ 494538 w 49453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4537" h="9525">
                  <a:moveTo>
                    <a:pt x="0" y="0"/>
                  </a:moveTo>
                  <a:lnTo>
                    <a:pt x="494538" y="0"/>
                  </a:lnTo>
                </a:path>
              </a:pathLst>
            </a:custGeom>
            <a:ln w="19050" cap="sq">
              <a:solidFill>
                <a:schemeClr val="bg2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4" name="Freeform: Shape 1185">
              <a:extLst>
                <a:ext uri="{FF2B5EF4-FFF2-40B4-BE49-F238E27FC236}">
                  <a16:creationId xmlns:a16="http://schemas.microsoft.com/office/drawing/2014/main" id="{5A0D2D30-D1B9-FB1A-E274-B34EF7A440D6}"/>
                </a:ext>
              </a:extLst>
            </p:cNvPr>
            <p:cNvSpPr/>
            <p:nvPr/>
          </p:nvSpPr>
          <p:spPr>
            <a:xfrm>
              <a:off x="2070263" y="3680093"/>
              <a:ext cx="291421" cy="45719"/>
            </a:xfrm>
            <a:custGeom>
              <a:avLst/>
              <a:gdLst>
                <a:gd name="connsiteX0" fmla="*/ 0 w 494537"/>
                <a:gd name="connsiteY0" fmla="*/ 0 h 9525"/>
                <a:gd name="connsiteX1" fmla="*/ 494538 w 49453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4537" h="9525">
                  <a:moveTo>
                    <a:pt x="0" y="0"/>
                  </a:moveTo>
                  <a:lnTo>
                    <a:pt x="494538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5" name="TextBox 534">
              <a:extLst>
                <a:ext uri="{FF2B5EF4-FFF2-40B4-BE49-F238E27FC236}">
                  <a16:creationId xmlns:a16="http://schemas.microsoft.com/office/drawing/2014/main" id="{86ED130C-CB1E-BCCA-86A5-873050FCC73C}"/>
                </a:ext>
              </a:extLst>
            </p:cNvPr>
            <p:cNvSpPr txBox="1"/>
            <p:nvPr/>
          </p:nvSpPr>
          <p:spPr>
            <a:xfrm>
              <a:off x="2388527" y="3838597"/>
              <a:ext cx="474810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err="1">
                  <a:ln/>
                  <a:solidFill>
                    <a:srgbClr val="95959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/>
                  <a:rtl val="0"/>
                </a:rPr>
                <a:t>PVd</a:t>
              </a:r>
              <a:endParaRPr kumimoji="0" lang="en-US" sz="12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endParaRPr>
            </a:p>
          </p:txBody>
        </p:sp>
        <p:sp>
          <p:nvSpPr>
            <p:cNvPr id="536" name="TextBox 535">
              <a:extLst>
                <a:ext uri="{FF2B5EF4-FFF2-40B4-BE49-F238E27FC236}">
                  <a16:creationId xmlns:a16="http://schemas.microsoft.com/office/drawing/2014/main" id="{4A9BE1E4-72C6-89FB-086E-BA7E9DA77197}"/>
                </a:ext>
              </a:extLst>
            </p:cNvPr>
            <p:cNvSpPr txBox="1"/>
            <p:nvPr/>
          </p:nvSpPr>
          <p:spPr>
            <a:xfrm>
              <a:off x="2388159" y="3537908"/>
              <a:ext cx="474810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err="1">
                  <a:ln/>
                  <a:solidFill>
                    <a:srgbClr val="00B8A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/>
                  <a:rtl val="0"/>
                </a:rPr>
                <a:t>BPd</a:t>
              </a:r>
              <a:endParaRPr kumimoji="0" lang="en-US" sz="12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endParaRPr>
            </a:p>
          </p:txBody>
        </p:sp>
      </p:grp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A00B65F7-D68D-DF3A-A5D6-E8F78A08268D}"/>
              </a:ext>
            </a:extLst>
          </p:cNvPr>
          <p:cNvCxnSpPr>
            <a:cxnSpLocks/>
          </p:cNvCxnSpPr>
          <p:nvPr/>
        </p:nvCxnSpPr>
        <p:spPr>
          <a:xfrm flipH="1" flipV="1">
            <a:off x="4836821" y="1396951"/>
            <a:ext cx="6125" cy="2415363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8" name="TextBox 537">
            <a:extLst>
              <a:ext uri="{FF2B5EF4-FFF2-40B4-BE49-F238E27FC236}">
                <a16:creationId xmlns:a16="http://schemas.microsoft.com/office/drawing/2014/main" id="{385A3E9A-29AA-9DFC-72EE-417483ECCFA4}"/>
              </a:ext>
            </a:extLst>
          </p:cNvPr>
          <p:cNvSpPr txBox="1"/>
          <p:nvPr/>
        </p:nvSpPr>
        <p:spPr>
          <a:xfrm>
            <a:off x="4293713" y="1195055"/>
            <a:ext cx="1533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 months</a:t>
            </a: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4CE537D0-BEC2-3FD1-D3C3-C76B799B6A08}"/>
              </a:ext>
            </a:extLst>
          </p:cNvPr>
          <p:cNvSpPr txBox="1"/>
          <p:nvPr/>
        </p:nvSpPr>
        <p:spPr>
          <a:xfrm>
            <a:off x="4659887" y="1575011"/>
            <a:ext cx="691298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%</a:t>
            </a: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D36413AD-283A-8413-7281-1891D1EB212A}"/>
              </a:ext>
            </a:extLst>
          </p:cNvPr>
          <p:cNvSpPr txBox="1"/>
          <p:nvPr/>
        </p:nvSpPr>
        <p:spPr>
          <a:xfrm>
            <a:off x="4590762" y="2122846"/>
            <a:ext cx="51437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%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1212A325-12F4-5DD5-82C1-F7C60C8DFE63}"/>
              </a:ext>
            </a:extLst>
          </p:cNvPr>
          <p:cNvSpPr txBox="1"/>
          <p:nvPr/>
        </p:nvSpPr>
        <p:spPr>
          <a:xfrm>
            <a:off x="5057034" y="2788884"/>
            <a:ext cx="1169966" cy="4308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7 months</a:t>
            </a: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3E2DFFF7-F265-9F60-516B-B6FD24AA35C1}"/>
              </a:ext>
            </a:extLst>
          </p:cNvPr>
          <p:cNvSpPr txBox="1"/>
          <p:nvPr/>
        </p:nvSpPr>
        <p:spPr>
          <a:xfrm>
            <a:off x="5546317" y="1518080"/>
            <a:ext cx="1011915" cy="43088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reached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85256F8C-36D5-9617-E26D-F09208CDE3F2}"/>
              </a:ext>
            </a:extLst>
          </p:cNvPr>
          <p:cNvSpPr txBox="1">
            <a:spLocks/>
          </p:cNvSpPr>
          <p:nvPr/>
        </p:nvSpPr>
        <p:spPr>
          <a:xfrm>
            <a:off x="169748" y="145056"/>
            <a:ext cx="10852928" cy="722312"/>
          </a:xfrm>
          <a:prstGeom prst="rect">
            <a:avLst/>
          </a:prstGeom>
        </p:spPr>
        <p:txBody>
          <a:bodyPr vert="horz" lIns="72000" tIns="72000" rIns="0" bIns="0" rtlCol="0" anchor="t" anchorCtr="0">
            <a:norm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REAMM-8: Significant PFS Benefit with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BPd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vs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V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" name="object 37">
            <a:extLst>
              <a:ext uri="{FF2B5EF4-FFF2-40B4-BE49-F238E27FC236}">
                <a16:creationId xmlns:a16="http://schemas.microsoft.com/office/drawing/2014/main" id="{CA0DE9B9-3D9C-14D0-8327-6E8185F94F2D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743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39B0D1-DE42-5010-3EBA-80DC46F522A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sz="800">
                <a:latin typeface="+mn-lt"/>
              </a:rPr>
              <a:t>AE, adverse event; AESI, adverse event of special interest; </a:t>
            </a:r>
            <a:r>
              <a:rPr lang="en-US" sz="800" err="1">
                <a:latin typeface="+mn-lt"/>
              </a:rPr>
              <a:t>BPd</a:t>
            </a:r>
            <a:r>
              <a:rPr lang="en-US" sz="800">
                <a:latin typeface="+mn-lt"/>
              </a:rPr>
              <a:t>, </a:t>
            </a:r>
            <a:r>
              <a:rPr lang="en-US" sz="800" err="1">
                <a:latin typeface="+mn-lt"/>
              </a:rPr>
              <a:t>belamaf</a:t>
            </a:r>
            <a:r>
              <a:rPr lang="en-US" sz="800">
                <a:latin typeface="+mn-lt"/>
              </a:rPr>
              <a:t>, pomalidomide, and dexamethasone; CTCAE, Common Terminology Criteria for Adverse Events; </a:t>
            </a:r>
            <a:r>
              <a:rPr lang="en-US" sz="800" err="1">
                <a:latin typeface="+mn-lt"/>
              </a:rPr>
              <a:t>PVd</a:t>
            </a:r>
            <a:r>
              <a:rPr lang="en-US" sz="800">
                <a:latin typeface="+mn-lt"/>
              </a:rPr>
              <a:t>, pomalidomide, bortezomib, and dexamethasone.</a:t>
            </a:r>
            <a:br>
              <a:rPr lang="en-US" sz="800">
                <a:latin typeface="+mn-lt"/>
              </a:rPr>
            </a:br>
            <a:r>
              <a:rPr lang="en-US" sz="800" baseline="30000">
                <a:latin typeface="+mn-lt"/>
              </a:rPr>
              <a:t>a</a:t>
            </a:r>
            <a:r>
              <a:rPr lang="en-US" sz="800">
                <a:latin typeface="+mn-lt"/>
              </a:rPr>
              <a:t> </a:t>
            </a:r>
            <a:r>
              <a:rPr lang="en-US" sz="800" err="1">
                <a:latin typeface="+mn-lt"/>
              </a:rPr>
              <a:t>posthoc</a:t>
            </a:r>
            <a:r>
              <a:rPr lang="en-US" sz="800">
                <a:latin typeface="+mn-lt"/>
              </a:rPr>
              <a:t> analysis.</a:t>
            </a:r>
            <a:r>
              <a:rPr lang="en-US" sz="800" baseline="30000">
                <a:latin typeface="+mn-lt"/>
              </a:rPr>
              <a:t> b</a:t>
            </a:r>
            <a:r>
              <a:rPr lang="en-US" sz="800">
                <a:latin typeface="+mn-lt"/>
              </a:rPr>
              <a:t> Thrombocytopenia includes events identified by site or preferred terms thrombocytopenia or platelet count decreased. </a:t>
            </a:r>
            <a:r>
              <a:rPr lang="en-US" sz="800" baseline="30000">
                <a:latin typeface="+mn-lt"/>
              </a:rPr>
              <a:t>c  </a:t>
            </a:r>
            <a:r>
              <a:rPr lang="en-US" sz="800">
                <a:latin typeface="+mn-lt"/>
              </a:rPr>
              <a:t>Neutropenia includes preferred terms febrile neutropenia, neutropenia, and neutrophil count decreased. </a:t>
            </a:r>
            <a:r>
              <a:rPr lang="en-US" sz="800" baseline="30000">
                <a:latin typeface="+mn-lt"/>
              </a:rPr>
              <a:t>d </a:t>
            </a:r>
            <a:r>
              <a:rPr lang="en-US" sz="800">
                <a:latin typeface="+mn-lt"/>
              </a:rPr>
              <a:t>Infections are based on all preferred terms included in the system organ class of infections and infestations. </a:t>
            </a:r>
          </a:p>
        </p:txBody>
      </p:sp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952DABA1-B4BB-D0FC-E180-5B8DB0DEE854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986631" y="889000"/>
          <a:ext cx="10218738" cy="43591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74743">
                  <a:extLst>
                    <a:ext uri="{9D8B030D-6E8A-4147-A177-3AD203B41FA5}">
                      <a16:colId xmlns:a16="http://schemas.microsoft.com/office/drawing/2014/main" val="2255696895"/>
                    </a:ext>
                  </a:extLst>
                </a:gridCol>
                <a:gridCol w="1188921">
                  <a:extLst>
                    <a:ext uri="{9D8B030D-6E8A-4147-A177-3AD203B41FA5}">
                      <a16:colId xmlns:a16="http://schemas.microsoft.com/office/drawing/2014/main" val="2141214240"/>
                    </a:ext>
                  </a:extLst>
                </a:gridCol>
                <a:gridCol w="499596">
                  <a:extLst>
                    <a:ext uri="{9D8B030D-6E8A-4147-A177-3AD203B41FA5}">
                      <a16:colId xmlns:a16="http://schemas.microsoft.com/office/drawing/2014/main" val="3438507097"/>
                    </a:ext>
                  </a:extLst>
                </a:gridCol>
                <a:gridCol w="1410054">
                  <a:extLst>
                    <a:ext uri="{9D8B030D-6E8A-4147-A177-3AD203B41FA5}">
                      <a16:colId xmlns:a16="http://schemas.microsoft.com/office/drawing/2014/main" val="4109246496"/>
                    </a:ext>
                  </a:extLst>
                </a:gridCol>
                <a:gridCol w="1117187">
                  <a:extLst>
                    <a:ext uri="{9D8B030D-6E8A-4147-A177-3AD203B41FA5}">
                      <a16:colId xmlns:a16="http://schemas.microsoft.com/office/drawing/2014/main" val="687245912"/>
                    </a:ext>
                  </a:extLst>
                </a:gridCol>
                <a:gridCol w="470233">
                  <a:extLst>
                    <a:ext uri="{9D8B030D-6E8A-4147-A177-3AD203B41FA5}">
                      <a16:colId xmlns:a16="http://schemas.microsoft.com/office/drawing/2014/main" val="329625047"/>
                    </a:ext>
                  </a:extLst>
                </a:gridCol>
                <a:gridCol w="1458004">
                  <a:extLst>
                    <a:ext uri="{9D8B030D-6E8A-4147-A177-3AD203B41FA5}">
                      <a16:colId xmlns:a16="http://schemas.microsoft.com/office/drawing/2014/main" val="1836737607"/>
                    </a:ext>
                  </a:extLst>
                </a:gridCol>
              </a:tblGrid>
              <a:tr h="213430">
                <a:tc rowSpan="2">
                  <a:txBody>
                    <a:bodyPr/>
                    <a:lstStyle/>
                    <a:p>
                      <a:pPr marL="0" lvl="1" indent="0"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j-lt"/>
                        </a:rPr>
                        <a:t>Grouped term, n (%)</a:t>
                      </a:r>
                      <a:r>
                        <a:rPr lang="en-US" sz="12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a</a:t>
                      </a:r>
                      <a:endParaRPr lang="en-US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afety population</a:t>
                      </a:r>
                      <a:endParaRPr lang="en-US" sz="1200" b="1" kern="10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0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6567970"/>
                  </a:ext>
                </a:extLst>
              </a:tr>
              <a:tr h="21343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Pd</a:t>
                      </a: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(N=150)</a:t>
                      </a:r>
                      <a:endParaRPr lang="en-US" sz="1200" b="1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Vd</a:t>
                      </a: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(N=145)</a:t>
                      </a:r>
                      <a:endParaRPr lang="en-US" sz="1200" b="1" kern="1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747671257"/>
                  </a:ext>
                </a:extLst>
              </a:tr>
              <a:tr h="26795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 b="1" dirty="0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n (%)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Patients/100-person years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Patients/100-person yea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n (%)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Patients/100-person years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Patients/100-person yea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809710"/>
                  </a:ext>
                </a:extLst>
              </a:tr>
              <a:tr h="40378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Thrombocytopenia</a:t>
                      </a:r>
                      <a:r>
                        <a:rPr lang="en-GB" sz="1100" b="1" baseline="30000">
                          <a:effectLst/>
                        </a:rPr>
                        <a:t>b</a:t>
                      </a:r>
                      <a:endParaRPr lang="en-GB" sz="1100" b="1">
                        <a:effectLst/>
                      </a:endParaRPr>
                    </a:p>
                    <a:p>
                      <a:pPr marL="914400" lvl="2" indent="0" algn="l">
                        <a:lnSpc>
                          <a:spcPct val="107000"/>
                        </a:lnSpc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  <a:effectLst/>
                        </a:rPr>
                        <a:t>Any event</a:t>
                      </a:r>
                    </a:p>
                    <a:p>
                      <a:pPr marL="914400" lvl="2" indent="0" algn="l">
                        <a:lnSpc>
                          <a:spcPct val="107000"/>
                        </a:lnSpc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  <a:effectLst/>
                        </a:rPr>
                        <a:t>Grade 3 or 4</a:t>
                      </a:r>
                      <a:endParaRPr lang="en-GB" sz="1100" b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82 (55)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57 (38)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40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28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40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2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60 (41)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42 (29)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4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31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4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3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8989324"/>
                  </a:ext>
                </a:extLst>
              </a:tr>
              <a:tr h="40378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1100" b="1" err="1">
                          <a:effectLst/>
                        </a:rPr>
                        <a:t>Neutropenia</a:t>
                      </a:r>
                      <a:r>
                        <a:rPr lang="en-US" sz="1100" b="1" baseline="30000" err="1">
                          <a:effectLst/>
                        </a:rPr>
                        <a:t>c</a:t>
                      </a:r>
                      <a:endParaRPr lang="en-US" sz="1100" b="1">
                        <a:effectLst/>
                      </a:endParaRPr>
                    </a:p>
                    <a:p>
                      <a:pPr marL="914400" indent="0" algn="l">
                        <a:lnSpc>
                          <a:spcPct val="107000"/>
                        </a:lnSpc>
                      </a:pPr>
                      <a:r>
                        <a:rPr lang="en-US" sz="1100" b="0">
                          <a:effectLst/>
                        </a:rPr>
                        <a:t>Any event</a:t>
                      </a:r>
                    </a:p>
                    <a:p>
                      <a:pPr marL="914400" indent="0" algn="l">
                        <a:lnSpc>
                          <a:spcPct val="107000"/>
                        </a:lnSpc>
                      </a:pPr>
                      <a:r>
                        <a:rPr lang="en-US" sz="1100" b="0">
                          <a:effectLst/>
                        </a:rPr>
                        <a:t>Grade 3 or 4</a:t>
                      </a:r>
                      <a:endParaRPr lang="en-GB" sz="1100" b="0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95 (63)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86 (57)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46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42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46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4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66 (46)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57 (39)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49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42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49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4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1532570"/>
                  </a:ext>
                </a:extLst>
              </a:tr>
              <a:tr h="40378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b="1" err="1">
                          <a:effectLst/>
                        </a:rPr>
                        <a:t>Infections</a:t>
                      </a:r>
                      <a:r>
                        <a:rPr lang="en-GB" sz="1100" b="1" baseline="30000" err="1">
                          <a:effectLst/>
                        </a:rPr>
                        <a:t>d</a:t>
                      </a:r>
                      <a:endParaRPr lang="en-GB" sz="1100" b="1">
                        <a:effectLst/>
                      </a:endParaRPr>
                    </a:p>
                    <a:p>
                      <a:pPr marL="914400" indent="0" algn="l">
                        <a:lnSpc>
                          <a:spcPct val="107000"/>
                        </a:lnSpc>
                      </a:pPr>
                      <a:r>
                        <a:rPr lang="en-GB" sz="1100" b="0">
                          <a:effectLst/>
                        </a:rPr>
                        <a:t>Any event</a:t>
                      </a:r>
                    </a:p>
                    <a:p>
                      <a:pPr marL="914400" indent="0" algn="l">
                        <a:lnSpc>
                          <a:spcPct val="107000"/>
                        </a:lnSpc>
                      </a:pPr>
                      <a:r>
                        <a:rPr lang="en-GB" sz="1100" b="0">
                          <a:effectLst/>
                        </a:rPr>
                        <a:t>Grade ≥3</a:t>
                      </a:r>
                      <a:endParaRPr lang="en-GB" sz="1100" b="0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123 (82)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73 (49)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59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35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59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3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99 (68)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38 (26)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73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</a:rPr>
                        <a:t>28</a:t>
                      </a: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73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 Narrow" panose="020B0606020202030204" pitchFamily="34" charset="0"/>
                        </a:rPr>
                        <a:t>2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1070310"/>
                  </a:ext>
                </a:extLst>
              </a:tr>
              <a:tr h="276116">
                <a:tc gridSpan="7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j-lt"/>
                        </a:rPr>
                        <a:t>Ocular AESIs (by CTCAE) preferred terms, n (%)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+mj-lt"/>
                        </a:rPr>
                        <a:t>≥30% of patients in either treatment group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n-GB" sz="11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1905681"/>
                  </a:ext>
                </a:extLst>
              </a:tr>
              <a:tr h="126933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100" b="1">
                          <a:effectLst/>
                        </a:rPr>
                        <a:t>Any grade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100" b="1">
                          <a:effectLst/>
                        </a:rPr>
                        <a:t>Grade ≥3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100" b="1">
                          <a:effectLst/>
                        </a:rPr>
                        <a:t>Any grade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GB" sz="1100" b="1">
                          <a:effectLst/>
                        </a:rPr>
                        <a:t>Grade ≥3</a:t>
                      </a:r>
                      <a:endParaRPr lang="en-GB" sz="1100" b="1">
                        <a:effectLst/>
                        <a:latin typeface="+mn-lt"/>
                        <a:ea typeface="Times New Roman" panose="02020603050405020304" pitchFamily="18" charset="0"/>
                        <a:cs typeface="Arial Narrow" panose="020B0606020202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2168989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Any event</a:t>
                      </a:r>
                      <a:endParaRPr lang="en-US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</a:rPr>
                        <a:t>133 (89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</a:rPr>
                        <a:t>65 (43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44 (30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3 (2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2033509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</a:rPr>
                        <a:t>   Vision blurred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119 (79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</a:rPr>
                        <a:t>26 (17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22 (15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4991003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   Dry eye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91 (61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12 (8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14 (10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2434448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   Foreign body sensation in eye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91 (61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effectLst/>
                        </a:rPr>
                        <a:t>9 (6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</a:rPr>
                        <a:t>9 (6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9428168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marL="120650" indent="0"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Eye irritation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75 (50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6 (4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3 (9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82294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marL="120650" indent="0"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Photophobia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66 (44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5 (3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6 (4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050619"/>
                  </a:ext>
                </a:extLst>
              </a:tr>
              <a:tr h="154191">
                <a:tc>
                  <a:txBody>
                    <a:bodyPr/>
                    <a:lstStyle/>
                    <a:p>
                      <a:pPr marL="120650" indent="0"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Eye pain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49 (33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3 (2)</a:t>
                      </a:r>
                      <a:endParaRPr lang="en-US" sz="11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7 (5)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18000" marB="18000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839139"/>
                  </a:ext>
                </a:extLst>
              </a:tr>
            </a:tbl>
          </a:graphicData>
        </a:graphic>
      </p:graphicFrame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F1012E7-992A-4D5F-ED5A-676D9F4D14B1}"/>
              </a:ext>
            </a:extLst>
          </p:cNvPr>
          <p:cNvSpPr/>
          <p:nvPr/>
        </p:nvSpPr>
        <p:spPr>
          <a:xfrm>
            <a:off x="986631" y="5292436"/>
            <a:ext cx="10218738" cy="431863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fety profile of </a:t>
            </a:r>
            <a:r>
              <a:rPr kumimoji="0" lang="en-GB" sz="15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Pd</a:t>
            </a:r>
            <a:r>
              <a:rPr kumimoji="0" lang="en-GB" sz="15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as broadly consistent with the known profile of the individual components of the regimen</a:t>
            </a: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EB13549-550B-D424-D10D-B9ACA69AFA1D}"/>
              </a:ext>
            </a:extLst>
          </p:cNvPr>
          <p:cNvSpPr txBox="1">
            <a:spLocks/>
          </p:cNvSpPr>
          <p:nvPr/>
        </p:nvSpPr>
        <p:spPr>
          <a:xfrm>
            <a:off x="986630" y="166688"/>
            <a:ext cx="10094841" cy="722312"/>
          </a:xfrm>
          <a:prstGeom prst="rect">
            <a:avLst/>
          </a:prstGeom>
        </p:spPr>
        <p:txBody>
          <a:bodyPr vert="horz" lIns="72000" tIns="72000" rIns="0" bIns="0" rtlCol="0" anchor="t" anchorCtr="0">
            <a:norm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REAMM-8: AEs of Clinical Interest</a:t>
            </a:r>
          </a:p>
        </p:txBody>
      </p:sp>
      <p:sp>
        <p:nvSpPr>
          <p:cNvPr id="2" name="object 37">
            <a:extLst>
              <a:ext uri="{FF2B5EF4-FFF2-40B4-BE49-F238E27FC236}">
                <a16:creationId xmlns:a16="http://schemas.microsoft.com/office/drawing/2014/main" id="{BF27107D-0DFD-7464-3314-22593CEFFF2C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32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4767AB-87E4-FE2B-CEAA-FB44A27F2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508" y="344348"/>
            <a:ext cx="11108915" cy="443198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M-7: Bela-</a:t>
            </a:r>
            <a:r>
              <a:rPr lang="en-US" sz="320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d</a:t>
            </a:r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s Dara-</a:t>
            </a:r>
            <a:r>
              <a:rPr lang="en-US" sz="320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d</a:t>
            </a:r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Study Design</a:t>
            </a:r>
            <a:endParaRPr lang="el-GR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: Rounded Corners 11">
            <a:extLst>
              <a:ext uri="{FF2B5EF4-FFF2-40B4-BE49-F238E27FC236}">
                <a16:creationId xmlns:a16="http://schemas.microsoft.com/office/drawing/2014/main" id="{D7F624F6-F4AE-F340-FF85-E75638894378}"/>
              </a:ext>
            </a:extLst>
          </p:cNvPr>
          <p:cNvSpPr/>
          <p:nvPr/>
        </p:nvSpPr>
        <p:spPr>
          <a:xfrm>
            <a:off x="365125" y="1278684"/>
            <a:ext cx="11461749" cy="4626905"/>
          </a:xfrm>
          <a:prstGeom prst="roundRect">
            <a:avLst>
              <a:gd name="adj" fmla="val 5521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E47F3B-3BC3-045F-B675-40D2DDBB7986}"/>
              </a:ext>
            </a:extLst>
          </p:cNvPr>
          <p:cNvSpPr txBox="1"/>
          <p:nvPr/>
        </p:nvSpPr>
        <p:spPr>
          <a:xfrm>
            <a:off x="413040" y="3808941"/>
            <a:ext cx="1588794" cy="608063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94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patients with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≥1 prior lines of therapy</a:t>
            </a:r>
          </a:p>
        </p:txBody>
      </p:sp>
      <p:cxnSp>
        <p:nvCxnSpPr>
          <p:cNvPr id="15" name="Straight Arrow Connector 94">
            <a:extLst>
              <a:ext uri="{FF2B5EF4-FFF2-40B4-BE49-F238E27FC236}">
                <a16:creationId xmlns:a16="http://schemas.microsoft.com/office/drawing/2014/main" id="{2DD45370-38C5-FD17-B7AC-C02D3FA4853A}"/>
              </a:ext>
            </a:extLst>
          </p:cNvPr>
          <p:cNvCxnSpPr>
            <a:cxnSpLocks/>
            <a:stCxn id="34" idx="0"/>
            <a:endCxn id="42" idx="1"/>
          </p:cNvCxnSpPr>
          <p:nvPr/>
        </p:nvCxnSpPr>
        <p:spPr>
          <a:xfrm flipV="1">
            <a:off x="2201251" y="2559259"/>
            <a:ext cx="920801" cy="652704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95">
            <a:extLst>
              <a:ext uri="{FF2B5EF4-FFF2-40B4-BE49-F238E27FC236}">
                <a16:creationId xmlns:a16="http://schemas.microsoft.com/office/drawing/2014/main" id="{8AB825CA-4C8D-EABC-4015-B2AF355665C3}"/>
              </a:ext>
            </a:extLst>
          </p:cNvPr>
          <p:cNvCxnSpPr>
            <a:cxnSpLocks/>
            <a:stCxn id="34" idx="2"/>
            <a:endCxn id="50" idx="1"/>
          </p:cNvCxnSpPr>
          <p:nvPr/>
        </p:nvCxnSpPr>
        <p:spPr>
          <a:xfrm>
            <a:off x="2201251" y="3579706"/>
            <a:ext cx="920802" cy="652704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01">
            <a:extLst>
              <a:ext uri="{FF2B5EF4-FFF2-40B4-BE49-F238E27FC236}">
                <a16:creationId xmlns:a16="http://schemas.microsoft.com/office/drawing/2014/main" id="{DB657768-905D-8B96-16D7-F3A9DD385ECC}"/>
              </a:ext>
            </a:extLst>
          </p:cNvPr>
          <p:cNvCxnSpPr>
            <a:cxnSpLocks/>
          </p:cNvCxnSpPr>
          <p:nvPr/>
        </p:nvCxnSpPr>
        <p:spPr>
          <a:xfrm>
            <a:off x="1120854" y="4747205"/>
            <a:ext cx="10401341" cy="0"/>
          </a:xfrm>
          <a:prstGeom prst="line">
            <a:avLst/>
          </a:prstGeom>
          <a:ln w="12700" cap="flat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6A47E4D-E9A1-894A-F5C9-40B9ECCBA45A}"/>
              </a:ext>
            </a:extLst>
          </p:cNvPr>
          <p:cNvSpPr txBox="1"/>
          <p:nvPr/>
        </p:nvSpPr>
        <p:spPr>
          <a:xfrm>
            <a:off x="657304" y="4994717"/>
            <a:ext cx="953945" cy="29130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Screening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and enroll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CD5667-FBCE-48CE-A554-5B87C9D400B0}"/>
              </a:ext>
            </a:extLst>
          </p:cNvPr>
          <p:cNvSpPr txBox="1"/>
          <p:nvPr/>
        </p:nvSpPr>
        <p:spPr>
          <a:xfrm>
            <a:off x="1574652" y="5011646"/>
            <a:ext cx="1380886" cy="29130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Randomiz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2F2EAE-F772-5BD0-C8D5-7E03AADA92B2}"/>
              </a:ext>
            </a:extLst>
          </p:cNvPr>
          <p:cNvSpPr txBox="1"/>
          <p:nvPr/>
        </p:nvSpPr>
        <p:spPr>
          <a:xfrm>
            <a:off x="1946419" y="5154508"/>
            <a:ext cx="4908641" cy="751081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Bo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1.3 mg/m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on D1, 4, 8, 11; C1–8)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e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20 mg on the day of, and day after, bortezomib; C1–8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FF280DD-2D5D-37B6-FB3B-DA13EC62E41E}"/>
              </a:ext>
            </a:extLst>
          </p:cNvPr>
          <p:cNvSpPr txBox="1"/>
          <p:nvPr/>
        </p:nvSpPr>
        <p:spPr>
          <a:xfrm>
            <a:off x="7862338" y="4717092"/>
            <a:ext cx="3791294" cy="55165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9C23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Treatment period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Until PD, death, unacceptable toxicity, withdrawal of consent, or end of study</a:t>
            </a:r>
          </a:p>
        </p:txBody>
      </p:sp>
      <p:cxnSp>
        <p:nvCxnSpPr>
          <p:cNvPr id="24" name="Straight Arrow Connector 114">
            <a:extLst>
              <a:ext uri="{FF2B5EF4-FFF2-40B4-BE49-F238E27FC236}">
                <a16:creationId xmlns:a16="http://schemas.microsoft.com/office/drawing/2014/main" id="{58CB0EB3-956D-681D-BA53-2DAED99732A0}"/>
              </a:ext>
            </a:extLst>
          </p:cNvPr>
          <p:cNvCxnSpPr>
            <a:cxnSpLocks/>
          </p:cNvCxnSpPr>
          <p:nvPr/>
        </p:nvCxnSpPr>
        <p:spPr>
          <a:xfrm flipV="1">
            <a:off x="1134276" y="4778597"/>
            <a:ext cx="0" cy="20320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116">
            <a:extLst>
              <a:ext uri="{FF2B5EF4-FFF2-40B4-BE49-F238E27FC236}">
                <a16:creationId xmlns:a16="http://schemas.microsoft.com/office/drawing/2014/main" id="{D43E1EDD-C596-495A-5D79-9D0150C5C9C1}"/>
              </a:ext>
            </a:extLst>
          </p:cNvPr>
          <p:cNvCxnSpPr>
            <a:cxnSpLocks/>
          </p:cNvCxnSpPr>
          <p:nvPr/>
        </p:nvCxnSpPr>
        <p:spPr>
          <a:xfrm flipV="1">
            <a:off x="2243775" y="4785744"/>
            <a:ext cx="0" cy="20320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117">
            <a:extLst>
              <a:ext uri="{FF2B5EF4-FFF2-40B4-BE49-F238E27FC236}">
                <a16:creationId xmlns:a16="http://schemas.microsoft.com/office/drawing/2014/main" id="{4286FB23-C886-B2AF-A3EC-A338CD500755}"/>
              </a:ext>
            </a:extLst>
          </p:cNvPr>
          <p:cNvCxnSpPr>
            <a:cxnSpLocks/>
          </p:cNvCxnSpPr>
          <p:nvPr/>
        </p:nvCxnSpPr>
        <p:spPr>
          <a:xfrm flipV="1">
            <a:off x="3444415" y="4778597"/>
            <a:ext cx="0" cy="20320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100">
            <a:extLst>
              <a:ext uri="{FF2B5EF4-FFF2-40B4-BE49-F238E27FC236}">
                <a16:creationId xmlns:a16="http://schemas.microsoft.com/office/drawing/2014/main" id="{4685B50B-F204-D3CF-4A00-81498A611080}"/>
              </a:ext>
            </a:extLst>
          </p:cNvPr>
          <p:cNvGrpSpPr/>
          <p:nvPr/>
        </p:nvGrpSpPr>
        <p:grpSpPr>
          <a:xfrm>
            <a:off x="865188" y="2673323"/>
            <a:ext cx="716122" cy="903938"/>
            <a:chOff x="1249243" y="2535093"/>
            <a:chExt cx="716122" cy="903938"/>
          </a:xfrm>
          <a:solidFill>
            <a:schemeClr val="accent1">
              <a:lumMod val="60000"/>
              <a:lumOff val="40000"/>
            </a:schemeClr>
          </a:solidFill>
        </p:grpSpPr>
        <p:pic>
          <p:nvPicPr>
            <p:cNvPr id="28" name="Graphic 16">
              <a:extLst>
                <a:ext uri="{FF2B5EF4-FFF2-40B4-BE49-F238E27FC236}">
                  <a16:creationId xmlns:a16="http://schemas.microsoft.com/office/drawing/2014/main" id="{31B73E68-918E-5DAE-E7BE-AB2F05536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62165" y="2535093"/>
              <a:ext cx="203200" cy="457200"/>
            </a:xfrm>
            <a:prstGeom prst="rect">
              <a:avLst/>
            </a:prstGeom>
          </p:spPr>
        </p:pic>
        <p:pic>
          <p:nvPicPr>
            <p:cNvPr id="29" name="Graphic 17">
              <a:extLst>
                <a:ext uri="{FF2B5EF4-FFF2-40B4-BE49-F238E27FC236}">
                  <a16:creationId xmlns:a16="http://schemas.microsoft.com/office/drawing/2014/main" id="{F2587170-2653-B321-717D-D72D94E6B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88308" y="2535093"/>
              <a:ext cx="203200" cy="457200"/>
            </a:xfrm>
            <a:prstGeom prst="rect">
              <a:avLst/>
            </a:prstGeom>
          </p:spPr>
        </p:pic>
        <p:pic>
          <p:nvPicPr>
            <p:cNvPr id="30" name="Graphic 19">
              <a:extLst>
                <a:ext uri="{FF2B5EF4-FFF2-40B4-BE49-F238E27FC236}">
                  <a16:creationId xmlns:a16="http://schemas.microsoft.com/office/drawing/2014/main" id="{0CAC930D-9F8F-4C1A-0E97-7E24C1382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12258" y="2981831"/>
              <a:ext cx="203200" cy="457200"/>
            </a:xfrm>
            <a:prstGeom prst="rect">
              <a:avLst/>
            </a:prstGeom>
          </p:spPr>
        </p:pic>
        <p:pic>
          <p:nvPicPr>
            <p:cNvPr id="31" name="Graphic 20">
              <a:extLst>
                <a:ext uri="{FF2B5EF4-FFF2-40B4-BE49-F238E27FC236}">
                  <a16:creationId xmlns:a16="http://schemas.microsoft.com/office/drawing/2014/main" id="{F0FA4FB7-9C3D-A992-8CDB-288F69EB3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9243" y="2878382"/>
              <a:ext cx="203200" cy="457200"/>
            </a:xfrm>
            <a:prstGeom prst="rect">
              <a:avLst/>
            </a:prstGeom>
          </p:spPr>
        </p:pic>
        <p:pic>
          <p:nvPicPr>
            <p:cNvPr id="32" name="Graphic 6">
              <a:extLst>
                <a:ext uri="{FF2B5EF4-FFF2-40B4-BE49-F238E27FC236}">
                  <a16:creationId xmlns:a16="http://schemas.microsoft.com/office/drawing/2014/main" id="{080CF82A-3F27-054D-E00F-508537112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1492" y="2627818"/>
              <a:ext cx="203200" cy="457200"/>
            </a:xfrm>
            <a:prstGeom prst="rect">
              <a:avLst/>
            </a:prstGeom>
          </p:spPr>
        </p:pic>
        <p:pic>
          <p:nvPicPr>
            <p:cNvPr id="33" name="Graphic 7">
              <a:extLst>
                <a:ext uri="{FF2B5EF4-FFF2-40B4-BE49-F238E27FC236}">
                  <a16:creationId xmlns:a16="http://schemas.microsoft.com/office/drawing/2014/main" id="{CF179CEA-A3E4-68CA-FF70-11E825D9B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83182" y="2981831"/>
              <a:ext cx="203200" cy="457200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EBA2D34C-DA2E-3851-2EFC-25215643C6C9}"/>
              </a:ext>
            </a:extLst>
          </p:cNvPr>
          <p:cNvSpPr txBox="1"/>
          <p:nvPr/>
        </p:nvSpPr>
        <p:spPr>
          <a:xfrm>
            <a:off x="1882284" y="3211963"/>
            <a:ext cx="637933" cy="367743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: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grpSp>
        <p:nvGrpSpPr>
          <p:cNvPr id="35" name="Group 43">
            <a:extLst>
              <a:ext uri="{FF2B5EF4-FFF2-40B4-BE49-F238E27FC236}">
                <a16:creationId xmlns:a16="http://schemas.microsoft.com/office/drawing/2014/main" id="{4346D074-8963-57A1-7024-44569F1D706C}"/>
              </a:ext>
            </a:extLst>
          </p:cNvPr>
          <p:cNvGrpSpPr/>
          <p:nvPr/>
        </p:nvGrpSpPr>
        <p:grpSpPr>
          <a:xfrm>
            <a:off x="3750164" y="1693789"/>
            <a:ext cx="1293812" cy="457200"/>
            <a:chOff x="3824328" y="2071687"/>
            <a:chExt cx="1293812" cy="457200"/>
          </a:xfrm>
        </p:grpSpPr>
        <p:pic>
          <p:nvPicPr>
            <p:cNvPr id="36" name="Graphic 21">
              <a:extLst>
                <a:ext uri="{FF2B5EF4-FFF2-40B4-BE49-F238E27FC236}">
                  <a16:creationId xmlns:a16="http://schemas.microsoft.com/office/drawing/2014/main" id="{87789C35-F746-CCA6-1B25-826C90DAB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24328" y="2071687"/>
              <a:ext cx="203200" cy="457200"/>
            </a:xfrm>
            <a:prstGeom prst="rect">
              <a:avLst/>
            </a:prstGeom>
          </p:spPr>
        </p:pic>
        <p:pic>
          <p:nvPicPr>
            <p:cNvPr id="37" name="Graphic 22">
              <a:extLst>
                <a:ext uri="{FF2B5EF4-FFF2-40B4-BE49-F238E27FC236}">
                  <a16:creationId xmlns:a16="http://schemas.microsoft.com/office/drawing/2014/main" id="{D639FB65-575A-C7A6-B98E-B455B6EA1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2450" y="2071687"/>
              <a:ext cx="203200" cy="457200"/>
            </a:xfrm>
            <a:prstGeom prst="rect">
              <a:avLst/>
            </a:prstGeom>
          </p:spPr>
        </p:pic>
        <p:pic>
          <p:nvPicPr>
            <p:cNvPr id="38" name="Graphic 24">
              <a:extLst>
                <a:ext uri="{FF2B5EF4-FFF2-40B4-BE49-F238E27FC236}">
                  <a16:creationId xmlns:a16="http://schemas.microsoft.com/office/drawing/2014/main" id="{385D79A3-B6A8-F82C-5A17-9CB6C37E08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60572" y="2071687"/>
              <a:ext cx="203200" cy="457200"/>
            </a:xfrm>
            <a:prstGeom prst="rect">
              <a:avLst/>
            </a:prstGeom>
          </p:spPr>
        </p:pic>
        <p:pic>
          <p:nvPicPr>
            <p:cNvPr id="39" name="Graphic 26">
              <a:extLst>
                <a:ext uri="{FF2B5EF4-FFF2-40B4-BE49-F238E27FC236}">
                  <a16:creationId xmlns:a16="http://schemas.microsoft.com/office/drawing/2014/main" id="{FB2C6CB7-9027-FB32-1672-F5DD678865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78694" y="2071687"/>
              <a:ext cx="203200" cy="457200"/>
            </a:xfrm>
            <a:prstGeom prst="rect">
              <a:avLst/>
            </a:prstGeom>
          </p:spPr>
        </p:pic>
        <p:pic>
          <p:nvPicPr>
            <p:cNvPr id="40" name="Graphic 27">
              <a:extLst>
                <a:ext uri="{FF2B5EF4-FFF2-40B4-BE49-F238E27FC236}">
                  <a16:creationId xmlns:a16="http://schemas.microsoft.com/office/drawing/2014/main" id="{C4CF9723-923A-7FDA-FD59-DC1CA1AE5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696816" y="2071687"/>
              <a:ext cx="203200" cy="457200"/>
            </a:xfrm>
            <a:prstGeom prst="rect">
              <a:avLst/>
            </a:prstGeom>
          </p:spPr>
        </p:pic>
        <p:pic>
          <p:nvPicPr>
            <p:cNvPr id="41" name="Graphic 28">
              <a:extLst>
                <a:ext uri="{FF2B5EF4-FFF2-40B4-BE49-F238E27FC236}">
                  <a16:creationId xmlns:a16="http://schemas.microsoft.com/office/drawing/2014/main" id="{2BB99E75-0721-0CAB-8D97-BE49513E7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14940" y="2071687"/>
              <a:ext cx="203200" cy="457200"/>
            </a:xfrm>
            <a:prstGeom prst="rect">
              <a:avLst/>
            </a:prstGeom>
          </p:spPr>
        </p:pic>
      </p:grpSp>
      <p:sp>
        <p:nvSpPr>
          <p:cNvPr id="42" name="Rectangle: Rounded Corners 12">
            <a:extLst>
              <a:ext uri="{FF2B5EF4-FFF2-40B4-BE49-F238E27FC236}">
                <a16:creationId xmlns:a16="http://schemas.microsoft.com/office/drawing/2014/main" id="{7E2F6094-E0C9-3735-A76A-C2F5C4F9813A}"/>
              </a:ext>
            </a:extLst>
          </p:cNvPr>
          <p:cNvSpPr/>
          <p:nvPr/>
        </p:nvSpPr>
        <p:spPr bwMode="auto">
          <a:xfrm>
            <a:off x="3122052" y="2207215"/>
            <a:ext cx="2514682" cy="704088"/>
          </a:xfrm>
          <a:prstGeom prst="roundRect">
            <a:avLst>
              <a:gd name="adj" fmla="val 13074"/>
            </a:avLst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sv-SE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 </a:t>
            </a:r>
            <a:r>
              <a:rPr kumimoji="0" lang="sv-SE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BVd</a:t>
            </a:r>
            <a:br>
              <a:rPr kumimoji="0" lang="sv-SE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</a:b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Belamaf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IV 2.5 mg/k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1 Q3W)</a:t>
            </a:r>
            <a:endParaRPr kumimoji="0" lang="sv-SE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grpSp>
        <p:nvGrpSpPr>
          <p:cNvPr id="43" name="Group 41">
            <a:extLst>
              <a:ext uri="{FF2B5EF4-FFF2-40B4-BE49-F238E27FC236}">
                <a16:creationId xmlns:a16="http://schemas.microsoft.com/office/drawing/2014/main" id="{23FFB9AC-6E44-1B56-5CEE-37A93BCC3AC9}"/>
              </a:ext>
            </a:extLst>
          </p:cNvPr>
          <p:cNvGrpSpPr/>
          <p:nvPr/>
        </p:nvGrpSpPr>
        <p:grpSpPr>
          <a:xfrm>
            <a:off x="3750165" y="3339866"/>
            <a:ext cx="1293812" cy="457200"/>
            <a:chOff x="3824328" y="3281361"/>
            <a:chExt cx="1293812" cy="457200"/>
          </a:xfrm>
        </p:grpSpPr>
        <p:pic>
          <p:nvPicPr>
            <p:cNvPr id="44" name="Graphic 35">
              <a:extLst>
                <a:ext uri="{FF2B5EF4-FFF2-40B4-BE49-F238E27FC236}">
                  <a16:creationId xmlns:a16="http://schemas.microsoft.com/office/drawing/2014/main" id="{8991AE19-B29C-394E-85CE-D84234540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824328" y="3281361"/>
              <a:ext cx="203200" cy="457200"/>
            </a:xfrm>
            <a:prstGeom prst="rect">
              <a:avLst/>
            </a:prstGeom>
          </p:spPr>
        </p:pic>
        <p:pic>
          <p:nvPicPr>
            <p:cNvPr id="45" name="Graphic 36">
              <a:extLst>
                <a:ext uri="{FF2B5EF4-FFF2-40B4-BE49-F238E27FC236}">
                  <a16:creationId xmlns:a16="http://schemas.microsoft.com/office/drawing/2014/main" id="{87741BB4-34C3-9559-3477-035D0B9D8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42450" y="3281361"/>
              <a:ext cx="203200" cy="457200"/>
            </a:xfrm>
            <a:prstGeom prst="rect">
              <a:avLst/>
            </a:prstGeom>
          </p:spPr>
        </p:pic>
        <p:pic>
          <p:nvPicPr>
            <p:cNvPr id="46" name="Graphic 37">
              <a:extLst>
                <a:ext uri="{FF2B5EF4-FFF2-40B4-BE49-F238E27FC236}">
                  <a16:creationId xmlns:a16="http://schemas.microsoft.com/office/drawing/2014/main" id="{4A21E874-7C02-F62A-25C0-FB38D5045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60572" y="3281361"/>
              <a:ext cx="203200" cy="457200"/>
            </a:xfrm>
            <a:prstGeom prst="rect">
              <a:avLst/>
            </a:prstGeom>
          </p:spPr>
        </p:pic>
        <p:pic>
          <p:nvPicPr>
            <p:cNvPr id="47" name="Graphic 38">
              <a:extLst>
                <a:ext uri="{FF2B5EF4-FFF2-40B4-BE49-F238E27FC236}">
                  <a16:creationId xmlns:a16="http://schemas.microsoft.com/office/drawing/2014/main" id="{F9210FD6-EFFA-E7A1-AAB4-EFAD5A33D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78694" y="3281361"/>
              <a:ext cx="203200" cy="457200"/>
            </a:xfrm>
            <a:prstGeom prst="rect">
              <a:avLst/>
            </a:prstGeom>
          </p:spPr>
        </p:pic>
        <p:pic>
          <p:nvPicPr>
            <p:cNvPr id="48" name="Graphic 39">
              <a:extLst>
                <a:ext uri="{FF2B5EF4-FFF2-40B4-BE49-F238E27FC236}">
                  <a16:creationId xmlns:a16="http://schemas.microsoft.com/office/drawing/2014/main" id="{7C6733DE-C0EE-85ED-9C5E-18D76E188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96816" y="3281361"/>
              <a:ext cx="203200" cy="457200"/>
            </a:xfrm>
            <a:prstGeom prst="rect">
              <a:avLst/>
            </a:prstGeom>
          </p:spPr>
        </p:pic>
        <p:pic>
          <p:nvPicPr>
            <p:cNvPr id="49" name="Graphic 40">
              <a:extLst>
                <a:ext uri="{FF2B5EF4-FFF2-40B4-BE49-F238E27FC236}">
                  <a16:creationId xmlns:a16="http://schemas.microsoft.com/office/drawing/2014/main" id="{6DDBF235-4A6E-67C3-A2A9-0F6849C98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914940" y="3281361"/>
              <a:ext cx="203200" cy="457200"/>
            </a:xfrm>
            <a:prstGeom prst="rect">
              <a:avLst/>
            </a:prstGeom>
          </p:spPr>
        </p:pic>
      </p:grpSp>
      <p:sp>
        <p:nvSpPr>
          <p:cNvPr id="50" name="Rectangle: Rounded Corners 13">
            <a:extLst>
              <a:ext uri="{FF2B5EF4-FFF2-40B4-BE49-F238E27FC236}">
                <a16:creationId xmlns:a16="http://schemas.microsoft.com/office/drawing/2014/main" id="{936D22DC-3948-7740-C34B-CCA78B3D148F}"/>
              </a:ext>
            </a:extLst>
          </p:cNvPr>
          <p:cNvSpPr/>
          <p:nvPr/>
        </p:nvSpPr>
        <p:spPr bwMode="auto">
          <a:xfrm>
            <a:off x="3122053" y="3880366"/>
            <a:ext cx="2514682" cy="704088"/>
          </a:xfrm>
          <a:prstGeom prst="roundRect">
            <a:avLst>
              <a:gd name="adj" fmla="val 1397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sv-SE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DVd</a:t>
            </a:r>
          </a:p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aratumumab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IV 16 mg/kg D1 C1–3 QW; C4–8 Q3W)</a:t>
            </a:r>
          </a:p>
        </p:txBody>
      </p:sp>
      <p:sp>
        <p:nvSpPr>
          <p:cNvPr id="51" name="Rectangle: Rounded Corners 115">
            <a:extLst>
              <a:ext uri="{FF2B5EF4-FFF2-40B4-BE49-F238E27FC236}">
                <a16:creationId xmlns:a16="http://schemas.microsoft.com/office/drawing/2014/main" id="{1683DBA3-41F3-2C2F-F41E-80373D421BB7}"/>
              </a:ext>
            </a:extLst>
          </p:cNvPr>
          <p:cNvSpPr/>
          <p:nvPr/>
        </p:nvSpPr>
        <p:spPr bwMode="auto">
          <a:xfrm>
            <a:off x="595049" y="1562669"/>
            <a:ext cx="3008077" cy="869177"/>
          </a:xfrm>
          <a:prstGeom prst="roundRect">
            <a:avLst/>
          </a:prstGeom>
          <a:noFill/>
          <a:ln w="12700">
            <a:noFill/>
          </a:ln>
        </p:spPr>
        <p:txBody>
          <a:bodyPr wrap="square" anchor="ctr" anchorCtr="0">
            <a:no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RATIFICATION:</a:t>
            </a:r>
          </a:p>
          <a:p>
            <a:pPr marL="182880" marR="0" lvl="0" indent="-18288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Tx/>
              <a:buFont typeface="+mj-lt"/>
              <a:buAutoNum type="arabicParenR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# of prior lines of therapy (1 vs 2/3 vs ≥4) </a:t>
            </a:r>
          </a:p>
          <a:p>
            <a:pPr marL="182880" marR="0" lvl="0" indent="-18288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Tx/>
              <a:buFont typeface="+mj-lt"/>
              <a:buAutoNum type="arabicParenR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Prior bortezomib (Yes vs No)</a:t>
            </a:r>
          </a:p>
          <a:p>
            <a:pPr marL="182880" marR="0" lvl="0" indent="-18288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Tx/>
              <a:buFont typeface="+mj-lt"/>
              <a:buAutoNum type="arabicParenR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R-ISS</a:t>
            </a:r>
            <a:r>
              <a: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 </a:t>
            </a:r>
            <a:r>
              <a:rPr kumimoji="0" lang="sv-SE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aging</a:t>
            </a:r>
            <a:r>
              <a: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 ( I vs II/III)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grpSp>
        <p:nvGrpSpPr>
          <p:cNvPr id="52" name="Group 123">
            <a:extLst>
              <a:ext uri="{FF2B5EF4-FFF2-40B4-BE49-F238E27FC236}">
                <a16:creationId xmlns:a16="http://schemas.microsoft.com/office/drawing/2014/main" id="{9B0D4D08-EC07-C4F0-D84D-2A3905258528}"/>
              </a:ext>
            </a:extLst>
          </p:cNvPr>
          <p:cNvGrpSpPr/>
          <p:nvPr/>
        </p:nvGrpSpPr>
        <p:grpSpPr>
          <a:xfrm>
            <a:off x="8125547" y="1562669"/>
            <a:ext cx="3584876" cy="3021785"/>
            <a:chOff x="7796440" y="1963357"/>
            <a:chExt cx="3584876" cy="3410508"/>
          </a:xfrm>
        </p:grpSpPr>
        <p:sp>
          <p:nvSpPr>
            <p:cNvPr id="53" name="Rounded Rectangle 46">
              <a:extLst>
                <a:ext uri="{FF2B5EF4-FFF2-40B4-BE49-F238E27FC236}">
                  <a16:creationId xmlns:a16="http://schemas.microsoft.com/office/drawing/2014/main" id="{B36CA1CA-EDAA-0A66-6E75-7FD704BD618F}"/>
                </a:ext>
              </a:extLst>
            </p:cNvPr>
            <p:cNvSpPr/>
            <p:nvPr/>
          </p:nvSpPr>
          <p:spPr>
            <a:xfrm>
              <a:off x="7796440" y="1963359"/>
              <a:ext cx="3584876" cy="3410506"/>
            </a:xfrm>
            <a:prstGeom prst="roundRect">
              <a:avLst>
                <a:gd name="adj" fmla="val 2574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50800" dir="1080000" algn="ctr" rotWithShape="0">
                <a:srgbClr val="000000">
                  <a:alpha val="10000"/>
                </a:srgbClr>
              </a:outerShdw>
            </a:effectLst>
          </p:spPr>
          <p:txBody>
            <a:bodyPr lIns="60960" tIns="457200" rIns="0" bIns="24384">
              <a:noAutofit/>
            </a:bodyPr>
            <a:lstStyle/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Primary:</a:t>
              </a:r>
            </a:p>
            <a:p>
              <a:pPr marL="180000" marR="0" lvl="1" indent="-180000" algn="l" defTabSz="914241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PFS</a:t>
              </a:r>
            </a:p>
            <a:p>
              <a:pPr marL="0" marR="0" lvl="1" indent="0" algn="l" defTabSz="914241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20000"/>
                <a:buFontTx/>
                <a:buNone/>
                <a:tabLst/>
                <a:defRPr/>
              </a:pPr>
              <a:endPara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Secondary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: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</p:txBody>
        </p:sp>
        <p:sp>
          <p:nvSpPr>
            <p:cNvPr id="54" name="Rectangle: Top Corners Rounded 125">
              <a:extLst>
                <a:ext uri="{FF2B5EF4-FFF2-40B4-BE49-F238E27FC236}">
                  <a16:creationId xmlns:a16="http://schemas.microsoft.com/office/drawing/2014/main" id="{0D430B66-1495-2990-A6AF-10DDF62297DC}"/>
                </a:ext>
              </a:extLst>
            </p:cNvPr>
            <p:cNvSpPr/>
            <p:nvPr/>
          </p:nvSpPr>
          <p:spPr bwMode="auto">
            <a:xfrm>
              <a:off x="7796440" y="1963357"/>
              <a:ext cx="3584876" cy="393560"/>
            </a:xfrm>
            <a:prstGeom prst="round2SameRect">
              <a:avLst/>
            </a:prstGeom>
            <a:solidFill>
              <a:schemeClr val="tx2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4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Endpoints</a:t>
              </a:r>
              <a:endPara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</p:txBody>
        </p:sp>
      </p:grpSp>
      <p:graphicFrame>
        <p:nvGraphicFramePr>
          <p:cNvPr id="55" name="Table 2">
            <a:extLst>
              <a:ext uri="{FF2B5EF4-FFF2-40B4-BE49-F238E27FC236}">
                <a16:creationId xmlns:a16="http://schemas.microsoft.com/office/drawing/2014/main" id="{21400F1D-DF3F-EF88-42E8-6DF75D0A3519}"/>
              </a:ext>
            </a:extLst>
          </p:cNvPr>
          <p:cNvGraphicFramePr>
            <a:graphicFrameLocks noGrp="1"/>
          </p:cNvGraphicFramePr>
          <p:nvPr/>
        </p:nvGraphicFramePr>
        <p:xfrm>
          <a:off x="8205932" y="3035681"/>
          <a:ext cx="3772080" cy="1386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86040">
                  <a:extLst>
                    <a:ext uri="{9D8B030D-6E8A-4147-A177-3AD203B41FA5}">
                      <a16:colId xmlns:a16="http://schemas.microsoft.com/office/drawing/2014/main" val="1304102306"/>
                    </a:ext>
                  </a:extLst>
                </a:gridCol>
                <a:gridCol w="1886040">
                  <a:extLst>
                    <a:ext uri="{9D8B030D-6E8A-4147-A177-3AD203B41FA5}">
                      <a16:colId xmlns:a16="http://schemas.microsoft.com/office/drawing/2014/main" val="3239792419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b="1" kern="1200" err="1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DoR</a:t>
                      </a:r>
                      <a:endParaRPr lang="en-US" sz="1300" b="1" kern="1200">
                        <a:solidFill>
                          <a:srgbClr val="313131"/>
                        </a:solidFill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TTP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43164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b="1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MRD negativity rate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noProof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PFS2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459599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b="1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OS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noProof="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Safety, tolerability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126092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CR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Ocular findings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601208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OR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PK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090428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CB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ADA</a:t>
                      </a: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s</a:t>
                      </a:r>
                      <a:endParaRPr lang="en-US" sz="1300" kern="120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094926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TT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 err="1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HRQoL</a:t>
                      </a:r>
                      <a:r>
                        <a:rPr lang="en-US" sz="13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, PROs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524896"/>
                  </a:ext>
                </a:extLst>
              </a:tr>
            </a:tbl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E214EBE8-5170-B76B-490E-0E3B0247DF4C}"/>
              </a:ext>
            </a:extLst>
          </p:cNvPr>
          <p:cNvSpPr txBox="1"/>
          <p:nvPr/>
        </p:nvSpPr>
        <p:spPr>
          <a:xfrm>
            <a:off x="2530681" y="4963313"/>
            <a:ext cx="3109403" cy="26161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ay 1 of 21-day administration cycles</a:t>
            </a:r>
          </a:p>
        </p:txBody>
      </p:sp>
      <p:sp>
        <p:nvSpPr>
          <p:cNvPr id="57" name="Rectangle: Rounded Corners 5">
            <a:extLst>
              <a:ext uri="{FF2B5EF4-FFF2-40B4-BE49-F238E27FC236}">
                <a16:creationId xmlns:a16="http://schemas.microsoft.com/office/drawing/2014/main" id="{525707B3-26B6-968F-FB8C-A1FCA8DE1757}"/>
              </a:ext>
            </a:extLst>
          </p:cNvPr>
          <p:cNvSpPr/>
          <p:nvPr/>
        </p:nvSpPr>
        <p:spPr bwMode="auto">
          <a:xfrm>
            <a:off x="5878979" y="2207215"/>
            <a:ext cx="2095430" cy="704088"/>
          </a:xfrm>
          <a:prstGeom prst="roundRect">
            <a:avLst>
              <a:gd name="adj" fmla="val 13074"/>
            </a:avLst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Belamaf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onotherap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IV 2.5 mg/kg Q3W)</a:t>
            </a:r>
            <a:endParaRPr kumimoji="0" lang="sv-SE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sp>
        <p:nvSpPr>
          <p:cNvPr id="58" name="Rectangle: Rounded Corners 9">
            <a:extLst>
              <a:ext uri="{FF2B5EF4-FFF2-40B4-BE49-F238E27FC236}">
                <a16:creationId xmlns:a16="http://schemas.microsoft.com/office/drawing/2014/main" id="{C458BBE2-703B-F651-B07A-B31486407EF7}"/>
              </a:ext>
            </a:extLst>
          </p:cNvPr>
          <p:cNvSpPr/>
          <p:nvPr/>
        </p:nvSpPr>
        <p:spPr bwMode="auto">
          <a:xfrm>
            <a:off x="5878981" y="3873932"/>
            <a:ext cx="2175813" cy="704088"/>
          </a:xfrm>
          <a:prstGeom prst="roundRect">
            <a:avLst>
              <a:gd name="adj" fmla="val 1397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aratumumab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onotherap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(IV 16 mg/kg; C9 + Q4W)</a:t>
            </a:r>
          </a:p>
        </p:txBody>
      </p:sp>
      <p:cxnSp>
        <p:nvCxnSpPr>
          <p:cNvPr id="59" name="Straight Arrow Connector 18">
            <a:extLst>
              <a:ext uri="{FF2B5EF4-FFF2-40B4-BE49-F238E27FC236}">
                <a16:creationId xmlns:a16="http://schemas.microsoft.com/office/drawing/2014/main" id="{1EA41D1C-B54D-4D3C-EDD7-144BD4F6E316}"/>
              </a:ext>
            </a:extLst>
          </p:cNvPr>
          <p:cNvCxnSpPr>
            <a:cxnSpLocks/>
            <a:stCxn id="42" idx="3"/>
            <a:endCxn id="57" idx="1"/>
          </p:cNvCxnSpPr>
          <p:nvPr/>
        </p:nvCxnSpPr>
        <p:spPr>
          <a:xfrm>
            <a:off x="5636734" y="2559259"/>
            <a:ext cx="242245" cy="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30">
            <a:extLst>
              <a:ext uri="{FF2B5EF4-FFF2-40B4-BE49-F238E27FC236}">
                <a16:creationId xmlns:a16="http://schemas.microsoft.com/office/drawing/2014/main" id="{22E9E186-F363-307E-E2F1-8A0DA6B31033}"/>
              </a:ext>
            </a:extLst>
          </p:cNvPr>
          <p:cNvCxnSpPr>
            <a:cxnSpLocks/>
            <a:stCxn id="50" idx="3"/>
            <a:endCxn id="58" idx="1"/>
          </p:cNvCxnSpPr>
          <p:nvPr/>
        </p:nvCxnSpPr>
        <p:spPr>
          <a:xfrm flipV="1">
            <a:off x="5636735" y="4225976"/>
            <a:ext cx="242246" cy="6434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34">
            <a:extLst>
              <a:ext uri="{FF2B5EF4-FFF2-40B4-BE49-F238E27FC236}">
                <a16:creationId xmlns:a16="http://schemas.microsoft.com/office/drawing/2014/main" id="{F6490E65-1FE4-07A8-F01B-41B456288CE2}"/>
              </a:ext>
            </a:extLst>
          </p:cNvPr>
          <p:cNvGrpSpPr/>
          <p:nvPr/>
        </p:nvGrpSpPr>
        <p:grpSpPr>
          <a:xfrm>
            <a:off x="6305820" y="1696686"/>
            <a:ext cx="1293812" cy="457200"/>
            <a:chOff x="3824328" y="2071687"/>
            <a:chExt cx="1293812" cy="457200"/>
          </a:xfrm>
        </p:grpSpPr>
        <p:pic>
          <p:nvPicPr>
            <p:cNvPr id="62" name="Graphic 42">
              <a:extLst>
                <a:ext uri="{FF2B5EF4-FFF2-40B4-BE49-F238E27FC236}">
                  <a16:creationId xmlns:a16="http://schemas.microsoft.com/office/drawing/2014/main" id="{DE20537B-6865-3ED2-F49B-073BB456C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24328" y="2071687"/>
              <a:ext cx="203200" cy="457200"/>
            </a:xfrm>
            <a:prstGeom prst="rect">
              <a:avLst/>
            </a:prstGeom>
          </p:spPr>
        </p:pic>
        <p:pic>
          <p:nvPicPr>
            <p:cNvPr id="63" name="Graphic 44">
              <a:extLst>
                <a:ext uri="{FF2B5EF4-FFF2-40B4-BE49-F238E27FC236}">
                  <a16:creationId xmlns:a16="http://schemas.microsoft.com/office/drawing/2014/main" id="{81D96CAF-CD98-89C3-7A9B-5D04AFA5D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2450" y="2071687"/>
              <a:ext cx="203200" cy="457200"/>
            </a:xfrm>
            <a:prstGeom prst="rect">
              <a:avLst/>
            </a:prstGeom>
          </p:spPr>
        </p:pic>
        <p:pic>
          <p:nvPicPr>
            <p:cNvPr id="64" name="Graphic 45">
              <a:extLst>
                <a:ext uri="{FF2B5EF4-FFF2-40B4-BE49-F238E27FC236}">
                  <a16:creationId xmlns:a16="http://schemas.microsoft.com/office/drawing/2014/main" id="{C468BFAD-7E69-AD03-B585-CD52DC910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60572" y="2071687"/>
              <a:ext cx="203200" cy="457200"/>
            </a:xfrm>
            <a:prstGeom prst="rect">
              <a:avLst/>
            </a:prstGeom>
          </p:spPr>
        </p:pic>
        <p:pic>
          <p:nvPicPr>
            <p:cNvPr id="65" name="Graphic 46">
              <a:extLst>
                <a:ext uri="{FF2B5EF4-FFF2-40B4-BE49-F238E27FC236}">
                  <a16:creationId xmlns:a16="http://schemas.microsoft.com/office/drawing/2014/main" id="{831754F6-0FEA-1B89-C43A-1C04F656D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78694" y="2071687"/>
              <a:ext cx="203200" cy="457200"/>
            </a:xfrm>
            <a:prstGeom prst="rect">
              <a:avLst/>
            </a:prstGeom>
          </p:spPr>
        </p:pic>
        <p:pic>
          <p:nvPicPr>
            <p:cNvPr id="66" name="Graphic 47">
              <a:extLst>
                <a:ext uri="{FF2B5EF4-FFF2-40B4-BE49-F238E27FC236}">
                  <a16:creationId xmlns:a16="http://schemas.microsoft.com/office/drawing/2014/main" id="{0110117A-84A8-F534-EB32-E43BDFE03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696816" y="2071687"/>
              <a:ext cx="203200" cy="457200"/>
            </a:xfrm>
            <a:prstGeom prst="rect">
              <a:avLst/>
            </a:prstGeom>
          </p:spPr>
        </p:pic>
        <p:pic>
          <p:nvPicPr>
            <p:cNvPr id="67" name="Graphic 48">
              <a:extLst>
                <a:ext uri="{FF2B5EF4-FFF2-40B4-BE49-F238E27FC236}">
                  <a16:creationId xmlns:a16="http://schemas.microsoft.com/office/drawing/2014/main" id="{AAE59FE8-378E-2878-B092-A67F93470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14940" y="2071687"/>
              <a:ext cx="203200" cy="457200"/>
            </a:xfrm>
            <a:prstGeom prst="rect">
              <a:avLst/>
            </a:prstGeom>
          </p:spPr>
        </p:pic>
      </p:grpSp>
      <p:grpSp>
        <p:nvGrpSpPr>
          <p:cNvPr id="68" name="Group 49">
            <a:extLst>
              <a:ext uri="{FF2B5EF4-FFF2-40B4-BE49-F238E27FC236}">
                <a16:creationId xmlns:a16="http://schemas.microsoft.com/office/drawing/2014/main" id="{BE7FDAAF-1CD0-0CA3-D381-57D40ECD61C7}"/>
              </a:ext>
            </a:extLst>
          </p:cNvPr>
          <p:cNvGrpSpPr/>
          <p:nvPr/>
        </p:nvGrpSpPr>
        <p:grpSpPr>
          <a:xfrm>
            <a:off x="6305821" y="3342763"/>
            <a:ext cx="1293812" cy="457200"/>
            <a:chOff x="3824328" y="3281361"/>
            <a:chExt cx="1293812" cy="457200"/>
          </a:xfrm>
        </p:grpSpPr>
        <p:pic>
          <p:nvPicPr>
            <p:cNvPr id="69" name="Graphic 50">
              <a:extLst>
                <a:ext uri="{FF2B5EF4-FFF2-40B4-BE49-F238E27FC236}">
                  <a16:creationId xmlns:a16="http://schemas.microsoft.com/office/drawing/2014/main" id="{9AD5A641-C662-C6FC-6F6D-4CDF478FD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824328" y="3281361"/>
              <a:ext cx="203200" cy="457200"/>
            </a:xfrm>
            <a:prstGeom prst="rect">
              <a:avLst/>
            </a:prstGeom>
          </p:spPr>
        </p:pic>
        <p:pic>
          <p:nvPicPr>
            <p:cNvPr id="70" name="Graphic 51">
              <a:extLst>
                <a:ext uri="{FF2B5EF4-FFF2-40B4-BE49-F238E27FC236}">
                  <a16:creationId xmlns:a16="http://schemas.microsoft.com/office/drawing/2014/main" id="{12AF8AFA-7222-5DAC-0D74-B5108269F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42450" y="3281361"/>
              <a:ext cx="203200" cy="457200"/>
            </a:xfrm>
            <a:prstGeom prst="rect">
              <a:avLst/>
            </a:prstGeom>
          </p:spPr>
        </p:pic>
        <p:pic>
          <p:nvPicPr>
            <p:cNvPr id="71" name="Graphic 52">
              <a:extLst>
                <a:ext uri="{FF2B5EF4-FFF2-40B4-BE49-F238E27FC236}">
                  <a16:creationId xmlns:a16="http://schemas.microsoft.com/office/drawing/2014/main" id="{F4DAE7CD-7844-9A1C-D95A-D1D099CB1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60572" y="3281361"/>
              <a:ext cx="203200" cy="457200"/>
            </a:xfrm>
            <a:prstGeom prst="rect">
              <a:avLst/>
            </a:prstGeom>
          </p:spPr>
        </p:pic>
        <p:pic>
          <p:nvPicPr>
            <p:cNvPr id="72" name="Graphic 53">
              <a:extLst>
                <a:ext uri="{FF2B5EF4-FFF2-40B4-BE49-F238E27FC236}">
                  <a16:creationId xmlns:a16="http://schemas.microsoft.com/office/drawing/2014/main" id="{271B8436-85FA-2B71-4293-453D88336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78694" y="3281361"/>
              <a:ext cx="203200" cy="457200"/>
            </a:xfrm>
            <a:prstGeom prst="rect">
              <a:avLst/>
            </a:prstGeom>
          </p:spPr>
        </p:pic>
        <p:pic>
          <p:nvPicPr>
            <p:cNvPr id="73" name="Graphic 54">
              <a:extLst>
                <a:ext uri="{FF2B5EF4-FFF2-40B4-BE49-F238E27FC236}">
                  <a16:creationId xmlns:a16="http://schemas.microsoft.com/office/drawing/2014/main" id="{47EF82BD-1A3A-BF2A-9AA9-B2B43D1C4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96816" y="3281361"/>
              <a:ext cx="203200" cy="457200"/>
            </a:xfrm>
            <a:prstGeom prst="rect">
              <a:avLst/>
            </a:prstGeom>
          </p:spPr>
        </p:pic>
        <p:pic>
          <p:nvPicPr>
            <p:cNvPr id="74" name="Graphic 55">
              <a:extLst>
                <a:ext uri="{FF2B5EF4-FFF2-40B4-BE49-F238E27FC236}">
                  <a16:creationId xmlns:a16="http://schemas.microsoft.com/office/drawing/2014/main" id="{D59AD452-193B-6B9A-7523-B3523665C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914940" y="3281361"/>
              <a:ext cx="203200" cy="457200"/>
            </a:xfrm>
            <a:prstGeom prst="rect">
              <a:avLst/>
            </a:prstGeom>
          </p:spPr>
        </p:pic>
      </p:grpSp>
      <p:sp>
        <p:nvSpPr>
          <p:cNvPr id="75" name="Rectangle: Rounded Corners 56">
            <a:extLst>
              <a:ext uri="{FF2B5EF4-FFF2-40B4-BE49-F238E27FC236}">
                <a16:creationId xmlns:a16="http://schemas.microsoft.com/office/drawing/2014/main" id="{AE5B8269-6967-D9F1-1187-05588B657558}"/>
              </a:ext>
            </a:extLst>
          </p:cNvPr>
          <p:cNvSpPr/>
          <p:nvPr/>
        </p:nvSpPr>
        <p:spPr bwMode="auto">
          <a:xfrm>
            <a:off x="3903662" y="1295410"/>
            <a:ext cx="994157" cy="427273"/>
          </a:xfrm>
          <a:prstGeom prst="roundRect">
            <a:avLst/>
          </a:prstGeom>
          <a:noFill/>
          <a:ln w="12700">
            <a:noFill/>
          </a:ln>
        </p:spPr>
        <p:txBody>
          <a:bodyPr wrap="square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CYCLE 1–8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sp>
        <p:nvSpPr>
          <p:cNvPr id="76" name="Rectangle: Rounded Corners 57">
            <a:extLst>
              <a:ext uri="{FF2B5EF4-FFF2-40B4-BE49-F238E27FC236}">
                <a16:creationId xmlns:a16="http://schemas.microsoft.com/office/drawing/2014/main" id="{C8C189E0-BCA9-22A8-A7A4-713AA3CADA41}"/>
              </a:ext>
            </a:extLst>
          </p:cNvPr>
          <p:cNvSpPr/>
          <p:nvPr/>
        </p:nvSpPr>
        <p:spPr bwMode="auto">
          <a:xfrm>
            <a:off x="6448185" y="1298001"/>
            <a:ext cx="994157" cy="427273"/>
          </a:xfrm>
          <a:prstGeom prst="roundRect">
            <a:avLst/>
          </a:prstGeom>
          <a:noFill/>
          <a:ln w="12700">
            <a:noFill/>
          </a:ln>
        </p:spPr>
        <p:txBody>
          <a:bodyPr wrap="square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CYCLE 9+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F68291D-9A28-094F-0F8B-D75B29F3196A}"/>
              </a:ext>
            </a:extLst>
          </p:cNvPr>
          <p:cNvSpPr txBox="1"/>
          <p:nvPr/>
        </p:nvSpPr>
        <p:spPr>
          <a:xfrm>
            <a:off x="6043614" y="6621997"/>
            <a:ext cx="61483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Hungri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V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393-407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0465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4767AB-87E4-FE2B-CEAA-FB44A27F2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58501"/>
            <a:ext cx="11826875" cy="468027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M-7 study – Patients Characteristics</a:t>
            </a:r>
            <a:endParaRPr lang="el-GR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14">
            <a:extLst>
              <a:ext uri="{FF2B5EF4-FFF2-40B4-BE49-F238E27FC236}">
                <a16:creationId xmlns:a16="http://schemas.microsoft.com/office/drawing/2014/main" id="{7142F6B2-1262-4C21-D361-038C8D6ED0A5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317624"/>
          <a:ext cx="11459151" cy="4474812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4910219">
                  <a:extLst>
                    <a:ext uri="{9D8B030D-6E8A-4147-A177-3AD203B41FA5}">
                      <a16:colId xmlns:a16="http://schemas.microsoft.com/office/drawing/2014/main" val="2063599075"/>
                    </a:ext>
                  </a:extLst>
                </a:gridCol>
                <a:gridCol w="3274466">
                  <a:extLst>
                    <a:ext uri="{9D8B030D-6E8A-4147-A177-3AD203B41FA5}">
                      <a16:colId xmlns:a16="http://schemas.microsoft.com/office/drawing/2014/main" val="469695551"/>
                    </a:ext>
                  </a:extLst>
                </a:gridCol>
                <a:gridCol w="3274466">
                  <a:extLst>
                    <a:ext uri="{9D8B030D-6E8A-4147-A177-3AD203B41FA5}">
                      <a16:colId xmlns:a16="http://schemas.microsoft.com/office/drawing/2014/main" val="3781322230"/>
                    </a:ext>
                  </a:extLst>
                </a:gridCol>
              </a:tblGrid>
              <a:tr h="874848"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Demographics and baseline characteristics</a:t>
                      </a:r>
                      <a:endParaRPr lang="en-US" sz="1400" b="1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Vd</a:t>
                      </a:r>
                      <a:b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N=243)</a:t>
                      </a:r>
                    </a:p>
                  </a:txBody>
                  <a:tcPr marL="59293" marR="59293" marT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Vd</a:t>
                      </a: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N=251)</a:t>
                      </a:r>
                    </a:p>
                  </a:txBody>
                  <a:tcPr marL="59293" marR="59293" marT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18640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Median age, years (range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65 (34–86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64 (32–89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09968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Standard/high risk cytogenetic abnormalities, n (%) 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75 (72)/67 (28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75 (70)/69 (27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54779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EMD present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3 (5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25 (10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0492584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R-ISS Stage </a:t>
                      </a:r>
                      <a:r>
                        <a:rPr lang="en-GB" sz="1400" b="0" dirty="0">
                          <a:effectLst/>
                          <a:latin typeface="+mn-lt"/>
                        </a:rPr>
                        <a:t>I/II/III</a:t>
                      </a:r>
                      <a:r>
                        <a:rPr lang="en-US" sz="1400" b="0" dirty="0">
                          <a:effectLst/>
                          <a:latin typeface="+mn-lt"/>
                        </a:rPr>
                        <a:t>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02 (42)/130 (53)/9 (4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103 (41)/132 (53)/14 (6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52122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Prior ASCT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64 (67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73 (69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014466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or </a:t>
                      </a:r>
                      <a:r>
                        <a:rPr lang="en-US" sz="1400" b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T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en-US" sz="14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2 or 3/≥4,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5 (51)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 (36)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 (1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5 (50)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 (39)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(11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231528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0000" marR="0" lvl="1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 lenalidomide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4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7 (5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4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 (5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963775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360000" marR="0" lvl="1" indent="-18000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ractory to lenalidomide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79 (33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87 (35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20185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 daratumumab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baseline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(1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698065"/>
                  </a:ext>
                </a:extLst>
              </a:tr>
            </a:tbl>
          </a:graphicData>
        </a:graphic>
      </p:graphicFrame>
      <p:sp>
        <p:nvSpPr>
          <p:cNvPr id="4" name="Rectangle: Rounded Corners 24">
            <a:extLst>
              <a:ext uri="{FF2B5EF4-FFF2-40B4-BE49-F238E27FC236}">
                <a16:creationId xmlns:a16="http://schemas.microsoft.com/office/drawing/2014/main" id="{036062A7-4E4E-5F7E-0B6E-D452EEA974FF}"/>
              </a:ext>
            </a:extLst>
          </p:cNvPr>
          <p:cNvSpPr/>
          <p:nvPr/>
        </p:nvSpPr>
        <p:spPr bwMode="auto">
          <a:xfrm>
            <a:off x="365125" y="2583711"/>
            <a:ext cx="11459150" cy="396000"/>
          </a:xfrm>
          <a:prstGeom prst="roundRect">
            <a:avLst/>
          </a:prstGeom>
          <a:noFill/>
          <a:ln w="28575">
            <a:solidFill>
              <a:schemeClr val="tx2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5" name="Rectangle: Rounded Corners 25">
            <a:extLst>
              <a:ext uri="{FF2B5EF4-FFF2-40B4-BE49-F238E27FC236}">
                <a16:creationId xmlns:a16="http://schemas.microsoft.com/office/drawing/2014/main" id="{41822027-313F-81D7-F71E-C78F404E7EFF}"/>
              </a:ext>
            </a:extLst>
          </p:cNvPr>
          <p:cNvSpPr/>
          <p:nvPr/>
        </p:nvSpPr>
        <p:spPr bwMode="auto">
          <a:xfrm>
            <a:off x="365125" y="4586176"/>
            <a:ext cx="11459150" cy="815164"/>
          </a:xfrm>
          <a:prstGeom prst="roundRect">
            <a:avLst/>
          </a:prstGeom>
          <a:noFill/>
          <a:ln w="28575">
            <a:solidFill>
              <a:schemeClr val="tx2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F2A49D-0FFC-1DAA-9ABA-39F2B7E0B6AE}"/>
              </a:ext>
            </a:extLst>
          </p:cNvPr>
          <p:cNvSpPr txBox="1"/>
          <p:nvPr/>
        </p:nvSpPr>
        <p:spPr>
          <a:xfrm>
            <a:off x="6043614" y="6621997"/>
            <a:ext cx="61483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Hungri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V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393-407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9179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37A8BA3-E840-3B4F-5F30-9BDC5C11AABE}"/>
              </a:ext>
            </a:extLst>
          </p:cNvPr>
          <p:cNvGrpSpPr/>
          <p:nvPr/>
        </p:nvGrpSpPr>
        <p:grpSpPr>
          <a:xfrm>
            <a:off x="6206837" y="2267527"/>
            <a:ext cx="5868309" cy="3223555"/>
            <a:chOff x="6206837" y="2267527"/>
            <a:chExt cx="5868309" cy="322355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B59CBE9-5BAA-06C3-06DA-05F3F9A6BD20}"/>
                </a:ext>
              </a:extLst>
            </p:cNvPr>
            <p:cNvGrpSpPr/>
            <p:nvPr/>
          </p:nvGrpSpPr>
          <p:grpSpPr>
            <a:xfrm>
              <a:off x="6206837" y="2267527"/>
              <a:ext cx="5868309" cy="3223555"/>
              <a:chOff x="6206837" y="2092037"/>
              <a:chExt cx="5868309" cy="3223555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991F7429-565B-4172-7105-174F5444FD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6206837" y="2225964"/>
                <a:ext cx="5868309" cy="3089628"/>
              </a:xfrm>
              <a:prstGeom prst="rect">
                <a:avLst/>
              </a:prstGeom>
            </p:spPr>
          </p:pic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058DAD7F-3840-AA15-D78E-A50D9CA8E5DC}"/>
                  </a:ext>
                </a:extLst>
              </p:cNvPr>
              <p:cNvSpPr/>
              <p:nvPr/>
            </p:nvSpPr>
            <p:spPr>
              <a:xfrm>
                <a:off x="9028545" y="2092037"/>
                <a:ext cx="2078182" cy="24195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F7434BC-37E6-AE37-19C5-CA67AB85D2AD}"/>
                </a:ext>
              </a:extLst>
            </p:cNvPr>
            <p:cNvSpPr/>
            <p:nvPr/>
          </p:nvSpPr>
          <p:spPr>
            <a:xfrm>
              <a:off x="9713119" y="4363757"/>
              <a:ext cx="174172" cy="2799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,e</a:t>
              </a:r>
              <a:endPara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F75CF27-685E-ABF1-A07C-43157BDC1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073" y="101471"/>
            <a:ext cx="11248283" cy="942353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nl-NL" sz="32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TITUDE-4</a:t>
            </a:r>
            <a:br>
              <a:rPr lang="nl-NL" sz="32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nl-NL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-3 prior LOT; lenalidomide-refractory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E3F264C-7CC8-5CA5-A169-583FFAECAE95}"/>
              </a:ext>
            </a:extLst>
          </p:cNvPr>
          <p:cNvGrpSpPr/>
          <p:nvPr/>
        </p:nvGrpSpPr>
        <p:grpSpPr>
          <a:xfrm>
            <a:off x="120073" y="2401454"/>
            <a:ext cx="6072487" cy="3089628"/>
            <a:chOff x="120073" y="2225964"/>
            <a:chExt cx="6072487" cy="308962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0BA1FD3-239F-0B43-9513-F7F6DA80A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0073" y="2225964"/>
              <a:ext cx="6072487" cy="3089628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940E67-EAC2-D6EE-7B91-361B3403A106}"/>
                </a:ext>
              </a:extLst>
            </p:cNvPr>
            <p:cNvSpPr/>
            <p:nvPr/>
          </p:nvSpPr>
          <p:spPr>
            <a:xfrm>
              <a:off x="2798618" y="2225964"/>
              <a:ext cx="2078182" cy="2419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7CC4B630-463E-C810-9DF7-EBA485DD01CC}"/>
              </a:ext>
            </a:extLst>
          </p:cNvPr>
          <p:cNvSpPr/>
          <p:nvPr/>
        </p:nvSpPr>
        <p:spPr>
          <a:xfrm>
            <a:off x="1710664" y="2026989"/>
            <a:ext cx="3157048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FS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E8B56E8-F538-9547-14B3-A4F7961026DE}"/>
              </a:ext>
            </a:extLst>
          </p:cNvPr>
          <p:cNvSpPr/>
          <p:nvPr/>
        </p:nvSpPr>
        <p:spPr>
          <a:xfrm>
            <a:off x="7931067" y="2030918"/>
            <a:ext cx="2678545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FBC8937-30B8-835B-C2A8-145AE95FC54F}"/>
              </a:ext>
            </a:extLst>
          </p:cNvPr>
          <p:cNvSpPr/>
          <p:nvPr/>
        </p:nvSpPr>
        <p:spPr>
          <a:xfrm>
            <a:off x="3621101" y="1420054"/>
            <a:ext cx="4949797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ter a median follow-up of 33.6 months:</a:t>
            </a:r>
            <a:endParaRPr kumimoji="0" lang="en-GB" sz="18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jdelijke aanduiding voor voettekst 3">
            <a:extLst>
              <a:ext uri="{FF2B5EF4-FFF2-40B4-BE49-F238E27FC236}">
                <a16:creationId xmlns:a16="http://schemas.microsoft.com/office/drawing/2014/main" id="{004E4628-9B04-FAD2-74BF-1ECBCDD5C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7675" y="6455055"/>
            <a:ext cx="11867471" cy="39248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tan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iecewise weighted log-rank test; </a:t>
            </a:r>
            <a:r>
              <a:rPr kumimoji="0" lang="en-GB" sz="8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95% CI from a Cox proportional hazards model with treatment as the sole explanatory variable, including only PFS events that occurred &gt;8 weeks post-randomisation; </a:t>
            </a:r>
            <a:r>
              <a:rPr kumimoji="0" lang="en-GB" sz="8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mina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 value;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GB" sz="8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g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rank test. p value, 0.0009, crossed the prespecified boundary of 0.0108 as implemented by the Kim-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Mets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pending function with parameter=2; </a:t>
            </a:r>
            <a:r>
              <a:rPr kumimoji="0" lang="en-GB" sz="8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nd 95% CI from a Cox proportional hazards model with treatment as the sole explanatory variabl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, confidence interval; HR, hazard ratio; LOT, line(s) of treatment; OS, overall survival; PFS, progression-free survival; SOC, standard of ca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800" b="0" i="0" u="none" strike="noStrike" kern="1200" cap="none" spc="0" normalizeH="0" baseline="0" noProof="0" dirty="0">
              <a:ln>
                <a:noFill/>
              </a:ln>
              <a:solidFill>
                <a:srgbClr val="00374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eos MV, et al. IMS 2024 (Abstract No. OA65 – presentation).</a:t>
            </a:r>
          </a:p>
        </p:txBody>
      </p:sp>
    </p:spTree>
    <p:extLst>
      <p:ext uri="{BB962C8B-B14F-4D97-AF65-F5344CB8AC3E}">
        <p14:creationId xmlns:p14="http://schemas.microsoft.com/office/powerpoint/2010/main" val="28450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4767AB-87E4-FE2B-CEAA-FB44A27F2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154" y="241730"/>
            <a:ext cx="12048067" cy="443198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M-7 study – PFS</a:t>
            </a:r>
            <a:endParaRPr lang="el-GR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19">
            <a:extLst>
              <a:ext uri="{FF2B5EF4-FFF2-40B4-BE49-F238E27FC236}">
                <a16:creationId xmlns:a16="http://schemas.microsoft.com/office/drawing/2014/main" id="{B70D83AF-BBAA-B829-5E8C-D8C0340F554F}"/>
              </a:ext>
            </a:extLst>
          </p:cNvPr>
          <p:cNvSpPr/>
          <p:nvPr/>
        </p:nvSpPr>
        <p:spPr>
          <a:xfrm>
            <a:off x="378380" y="1220875"/>
            <a:ext cx="11460162" cy="4571563"/>
          </a:xfrm>
          <a:prstGeom prst="roundRect">
            <a:avLst>
              <a:gd name="adj" fmla="val 6970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r="54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760" bIns="9144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graphicFrame>
        <p:nvGraphicFramePr>
          <p:cNvPr id="8" name="Table 13">
            <a:extLst>
              <a:ext uri="{FF2B5EF4-FFF2-40B4-BE49-F238E27FC236}">
                <a16:creationId xmlns:a16="http://schemas.microsoft.com/office/drawing/2014/main" id="{F380D395-19B1-237B-2D93-A37284DDBBC4}"/>
              </a:ext>
            </a:extLst>
          </p:cNvPr>
          <p:cNvGraphicFramePr>
            <a:graphicFrameLocks noGrp="1"/>
          </p:cNvGraphicFramePr>
          <p:nvPr/>
        </p:nvGraphicFramePr>
        <p:xfrm>
          <a:off x="6980177" y="1484565"/>
          <a:ext cx="4606064" cy="936000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146219507"/>
                    </a:ext>
                  </a:extLst>
                </a:gridCol>
                <a:gridCol w="1313032">
                  <a:extLst>
                    <a:ext uri="{9D8B030D-6E8A-4147-A177-3AD203B41FA5}">
                      <a16:colId xmlns:a16="http://schemas.microsoft.com/office/drawing/2014/main" val="2546415161"/>
                    </a:ext>
                  </a:extLst>
                </a:gridCol>
                <a:gridCol w="1313032">
                  <a:extLst>
                    <a:ext uri="{9D8B030D-6E8A-4147-A177-3AD203B41FA5}">
                      <a16:colId xmlns:a16="http://schemas.microsoft.com/office/drawing/2014/main" val="3235915801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marL="0" marR="0" algn="l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R="68580" marT="0" marB="0" anchor="b">
                    <a:lnL w="6350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Vd</a:t>
                      </a: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 (N=243)</a:t>
                      </a:r>
                      <a:endParaRPr lang="en-US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DVd</a:t>
                      </a: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 (N=251)</a:t>
                      </a:r>
                      <a:endParaRPr lang="en-US" sz="1200"/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25518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marL="0" marR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Median PFS </a:t>
                      </a: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(95% CI), </a:t>
                      </a:r>
                      <a:r>
                        <a:rPr lang="en-US" sz="12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mo</a:t>
                      </a:r>
                      <a:endParaRPr lang="en-US" sz="12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R="68580" marT="0" marB="0" anchor="ctr">
                    <a:lnL w="6350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noProof="0">
                          <a:effectLst/>
                          <a:latin typeface="Arial"/>
                        </a:rPr>
                        <a:t>36.6</a:t>
                      </a:r>
                      <a:r>
                        <a:rPr lang="en-US" sz="1200">
                          <a:effectLst/>
                        </a:rPr>
                        <a:t> 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8.4, -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200"/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</a:rPr>
                        <a:t>13.4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</a:rPr>
                        <a:t> 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1.1, 17.5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</a:t>
                      </a:r>
                      <a:endParaRPr lang="en-US" sz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uLnTx/>
                        <a:uFillTx/>
                        <a:latin typeface="+mn-lt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2905399"/>
                  </a:ext>
                </a:extLst>
              </a:tr>
              <a:tr h="234000">
                <a:tc gridSpan="3"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Hazard ratio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(95% CI): </a:t>
                      </a:r>
                      <a:r>
                        <a:rPr lang="en-US" sz="12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41</a:t>
                      </a:r>
                      <a:r>
                        <a:rPr lang="en-US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(0.31, 0.53); </a:t>
                      </a:r>
                      <a:r>
                        <a:rPr lang="en-US" sz="1200" b="0" i="1" u="none" strike="noStrike" kern="1200" dirty="0">
                          <a:solidFill>
                            <a:srgbClr val="1E2D3A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lt;0.00001</a:t>
                      </a:r>
                    </a:p>
                  </a:txBody>
                  <a:tcPr marR="68580" marT="0" marB="0" anchor="ctr">
                    <a:lnL w="6350">
                      <a:noFill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E2D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E2D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2196838"/>
                  </a:ext>
                </a:extLst>
              </a:tr>
              <a:tr h="234000">
                <a:tc gridSpan="3"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dirty="0">
                          <a:effectLst/>
                          <a:latin typeface="Arial"/>
                          <a:cs typeface="Arial"/>
                        </a:rPr>
                        <a:t>Median follow-up:</a:t>
                      </a:r>
                      <a:r>
                        <a:rPr lang="en-US" sz="1200" b="0" i="0" u="none" strike="noStrike" dirty="0">
                          <a:effectLst/>
                          <a:latin typeface="Arial"/>
                          <a:cs typeface="Arial"/>
                        </a:rPr>
                        <a:t> 28.2 months (0.10–40.02)</a:t>
                      </a:r>
                    </a:p>
                  </a:txBody>
                  <a:tcPr marR="68580" marT="0" marB="0" anchor="ctr">
                    <a:lnL w="6350">
                      <a:noFill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2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4920359"/>
                  </a:ext>
                </a:extLst>
              </a:tr>
            </a:tbl>
          </a:graphicData>
        </a:graphic>
      </p:graphicFrame>
      <p:grpSp>
        <p:nvGrpSpPr>
          <p:cNvPr id="9" name="Group 18">
            <a:extLst>
              <a:ext uri="{FF2B5EF4-FFF2-40B4-BE49-F238E27FC236}">
                <a16:creationId xmlns:a16="http://schemas.microsoft.com/office/drawing/2014/main" id="{F26BAE7D-E9B4-1CB9-A82A-995397371D7D}"/>
              </a:ext>
            </a:extLst>
          </p:cNvPr>
          <p:cNvGrpSpPr/>
          <p:nvPr/>
        </p:nvGrpSpPr>
        <p:grpSpPr>
          <a:xfrm>
            <a:off x="1542390" y="3890891"/>
            <a:ext cx="812272" cy="446276"/>
            <a:chOff x="3643005" y="3721777"/>
            <a:chExt cx="812272" cy="446276"/>
          </a:xfrm>
        </p:grpSpPr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EAD2A985-DC45-8027-F871-7ACAA5B19537}"/>
                </a:ext>
              </a:extLst>
            </p:cNvPr>
            <p:cNvSpPr/>
            <p:nvPr/>
          </p:nvSpPr>
          <p:spPr bwMode="auto">
            <a:xfrm>
              <a:off x="4059277" y="3721777"/>
              <a:ext cx="396000" cy="446276"/>
            </a:xfrm>
            <a:prstGeom prst="rect">
              <a:avLst/>
            </a:prstGeom>
            <a:no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BVd</a:t>
              </a: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DVd</a:t>
              </a: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cxnSp>
          <p:nvCxnSpPr>
            <p:cNvPr id="11" name="Straight Connector 11">
              <a:extLst>
                <a:ext uri="{FF2B5EF4-FFF2-40B4-BE49-F238E27FC236}">
                  <a16:creationId xmlns:a16="http://schemas.microsoft.com/office/drawing/2014/main" id="{9658B8D4-CF58-33DB-B6AB-29853ED55488}"/>
                </a:ext>
              </a:extLst>
            </p:cNvPr>
            <p:cNvCxnSpPr/>
            <p:nvPr/>
          </p:nvCxnSpPr>
          <p:spPr>
            <a:xfrm>
              <a:off x="3643005" y="3811175"/>
              <a:ext cx="324000" cy="0"/>
            </a:xfrm>
            <a:prstGeom prst="line">
              <a:avLst/>
            </a:prstGeom>
            <a:ln w="19050" cap="sq">
              <a:solidFill>
                <a:schemeClr val="tx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7">
              <a:extLst>
                <a:ext uri="{FF2B5EF4-FFF2-40B4-BE49-F238E27FC236}">
                  <a16:creationId xmlns:a16="http://schemas.microsoft.com/office/drawing/2014/main" id="{39565503-BA7E-1A04-77BC-8F934535475A}"/>
                </a:ext>
              </a:extLst>
            </p:cNvPr>
            <p:cNvCxnSpPr/>
            <p:nvPr/>
          </p:nvCxnSpPr>
          <p:spPr>
            <a:xfrm>
              <a:off x="3643005" y="4073211"/>
              <a:ext cx="324000" cy="0"/>
            </a:xfrm>
            <a:prstGeom prst="line">
              <a:avLst/>
            </a:prstGeom>
            <a:ln w="19050" cap="sq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26">
            <a:extLst>
              <a:ext uri="{FF2B5EF4-FFF2-40B4-BE49-F238E27FC236}">
                <a16:creationId xmlns:a16="http://schemas.microsoft.com/office/drawing/2014/main" id="{697F2F46-229E-D4B3-3235-CD5855433137}"/>
              </a:ext>
            </a:extLst>
          </p:cNvPr>
          <p:cNvSpPr/>
          <p:nvPr/>
        </p:nvSpPr>
        <p:spPr bwMode="auto">
          <a:xfrm>
            <a:off x="5399448" y="1848157"/>
            <a:ext cx="974883" cy="184666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8 months</a:t>
            </a:r>
          </a:p>
        </p:txBody>
      </p:sp>
      <p:sp>
        <p:nvSpPr>
          <p:cNvPr id="14" name="Rectangle 29">
            <a:extLst>
              <a:ext uri="{FF2B5EF4-FFF2-40B4-BE49-F238E27FC236}">
                <a16:creationId xmlns:a16="http://schemas.microsoft.com/office/drawing/2014/main" id="{EBB234B8-BDEF-F29E-56F6-9467C7E93F48}"/>
              </a:ext>
            </a:extLst>
          </p:cNvPr>
          <p:cNvSpPr/>
          <p:nvPr/>
        </p:nvSpPr>
        <p:spPr bwMode="auto">
          <a:xfrm>
            <a:off x="5930219" y="2533797"/>
            <a:ext cx="410369" cy="184666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69%</a:t>
            </a:r>
          </a:p>
        </p:txBody>
      </p:sp>
      <p:sp>
        <p:nvSpPr>
          <p:cNvPr id="15" name="Rectangle 30">
            <a:extLst>
              <a:ext uri="{FF2B5EF4-FFF2-40B4-BE49-F238E27FC236}">
                <a16:creationId xmlns:a16="http://schemas.microsoft.com/office/drawing/2014/main" id="{DCF14DE8-4DEE-0AC7-86CF-ADD56679E467}"/>
              </a:ext>
            </a:extLst>
          </p:cNvPr>
          <p:cNvSpPr/>
          <p:nvPr/>
        </p:nvSpPr>
        <p:spPr bwMode="auto">
          <a:xfrm>
            <a:off x="5930593" y="3527123"/>
            <a:ext cx="410369" cy="184666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6658A6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3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B7B39-74F2-EF08-D719-EF0CC2F473FE}"/>
              </a:ext>
            </a:extLst>
          </p:cNvPr>
          <p:cNvSpPr txBox="1"/>
          <p:nvPr/>
        </p:nvSpPr>
        <p:spPr>
          <a:xfrm>
            <a:off x="11177614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D44941-97B9-F419-2A69-C017A68988A9}"/>
              </a:ext>
            </a:extLst>
          </p:cNvPr>
          <p:cNvSpPr txBox="1"/>
          <p:nvPr/>
        </p:nvSpPr>
        <p:spPr>
          <a:xfrm>
            <a:off x="1094286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00D5C7-86CF-98E8-EBE2-41E9CE409BEE}"/>
              </a:ext>
            </a:extLst>
          </p:cNvPr>
          <p:cNvSpPr txBox="1"/>
          <p:nvPr/>
        </p:nvSpPr>
        <p:spPr>
          <a:xfrm>
            <a:off x="1070811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2CB4B3-7460-5C61-7761-5AA95DF2D8DB}"/>
              </a:ext>
            </a:extLst>
          </p:cNvPr>
          <p:cNvSpPr txBox="1"/>
          <p:nvPr/>
        </p:nvSpPr>
        <p:spPr>
          <a:xfrm>
            <a:off x="1047336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0CD2322-1459-38A0-1CBD-977522F4C36B}"/>
              </a:ext>
            </a:extLst>
          </p:cNvPr>
          <p:cNvSpPr txBox="1"/>
          <p:nvPr/>
        </p:nvSpPr>
        <p:spPr>
          <a:xfrm>
            <a:off x="1023861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BFEB13-B19F-A5B5-046A-6E41E0A06BEB}"/>
              </a:ext>
            </a:extLst>
          </p:cNvPr>
          <p:cNvSpPr txBox="1"/>
          <p:nvPr/>
        </p:nvSpPr>
        <p:spPr>
          <a:xfrm>
            <a:off x="1000386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0D0D3A-8AC3-BD2F-F972-B0EAF6FF87F6}"/>
              </a:ext>
            </a:extLst>
          </p:cNvPr>
          <p:cNvSpPr txBox="1"/>
          <p:nvPr/>
        </p:nvSpPr>
        <p:spPr>
          <a:xfrm>
            <a:off x="976910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BFD6967-DD29-94B5-5AB7-510934FB116E}"/>
              </a:ext>
            </a:extLst>
          </p:cNvPr>
          <p:cNvSpPr txBox="1"/>
          <p:nvPr/>
        </p:nvSpPr>
        <p:spPr>
          <a:xfrm>
            <a:off x="953435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4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DE07855-5C44-F11F-4346-9DCF2C24EA7E}"/>
              </a:ext>
            </a:extLst>
          </p:cNvPr>
          <p:cNvSpPr txBox="1"/>
          <p:nvPr/>
        </p:nvSpPr>
        <p:spPr>
          <a:xfrm>
            <a:off x="929960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A6ACB1-8922-95AD-4A7F-261BAC5F302E}"/>
              </a:ext>
            </a:extLst>
          </p:cNvPr>
          <p:cNvSpPr txBox="1"/>
          <p:nvPr/>
        </p:nvSpPr>
        <p:spPr>
          <a:xfrm>
            <a:off x="906485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866B1D-203D-2DDD-9E95-35AF47E4674D}"/>
              </a:ext>
            </a:extLst>
          </p:cNvPr>
          <p:cNvSpPr txBox="1"/>
          <p:nvPr/>
        </p:nvSpPr>
        <p:spPr>
          <a:xfrm>
            <a:off x="883010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E380FFE-915C-C65D-09E4-D36AA5BB9A38}"/>
              </a:ext>
            </a:extLst>
          </p:cNvPr>
          <p:cNvSpPr txBox="1"/>
          <p:nvPr/>
        </p:nvSpPr>
        <p:spPr>
          <a:xfrm>
            <a:off x="859534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4D796ED-F5C8-FE1F-63C1-F88A985F016D}"/>
              </a:ext>
            </a:extLst>
          </p:cNvPr>
          <p:cNvSpPr txBox="1"/>
          <p:nvPr/>
        </p:nvSpPr>
        <p:spPr>
          <a:xfrm>
            <a:off x="836059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9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23E4E2B-57A0-B69D-511B-CC53D5F1E26A}"/>
              </a:ext>
            </a:extLst>
          </p:cNvPr>
          <p:cNvSpPr txBox="1"/>
          <p:nvPr/>
        </p:nvSpPr>
        <p:spPr>
          <a:xfrm>
            <a:off x="812584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84EC45F-A84E-3F7B-F29F-59A60CCA3C8B}"/>
              </a:ext>
            </a:extLst>
          </p:cNvPr>
          <p:cNvSpPr txBox="1"/>
          <p:nvPr/>
        </p:nvSpPr>
        <p:spPr>
          <a:xfrm>
            <a:off x="789109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4780136-1953-2B8B-F76C-277D78D075BA}"/>
              </a:ext>
            </a:extLst>
          </p:cNvPr>
          <p:cNvSpPr txBox="1"/>
          <p:nvPr/>
        </p:nvSpPr>
        <p:spPr>
          <a:xfrm>
            <a:off x="765634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6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0B7B6C6-91BA-2C07-A1AB-D2B16B5AB20E}"/>
              </a:ext>
            </a:extLst>
          </p:cNvPr>
          <p:cNvSpPr txBox="1"/>
          <p:nvPr/>
        </p:nvSpPr>
        <p:spPr>
          <a:xfrm>
            <a:off x="742158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D70DE0-C9C3-3369-115C-57D82A65AD66}"/>
              </a:ext>
            </a:extLst>
          </p:cNvPr>
          <p:cNvSpPr txBox="1"/>
          <p:nvPr/>
        </p:nvSpPr>
        <p:spPr>
          <a:xfrm>
            <a:off x="718683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BAA5AD-6203-CEC1-6C3E-28E17FE95F82}"/>
              </a:ext>
            </a:extLst>
          </p:cNvPr>
          <p:cNvSpPr txBox="1"/>
          <p:nvPr/>
        </p:nvSpPr>
        <p:spPr>
          <a:xfrm>
            <a:off x="695208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895A23-79F9-02F2-83DB-7F3185888D4F}"/>
              </a:ext>
            </a:extLst>
          </p:cNvPr>
          <p:cNvSpPr txBox="1"/>
          <p:nvPr/>
        </p:nvSpPr>
        <p:spPr>
          <a:xfrm>
            <a:off x="671733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7FBC04-6870-A461-F5B5-04D23C11182A}"/>
              </a:ext>
            </a:extLst>
          </p:cNvPr>
          <p:cNvSpPr txBox="1"/>
          <p:nvPr/>
        </p:nvSpPr>
        <p:spPr>
          <a:xfrm>
            <a:off x="648258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8F25B8D-2C26-FC70-D1FA-97820B2AE5AB}"/>
              </a:ext>
            </a:extLst>
          </p:cNvPr>
          <p:cNvSpPr txBox="1"/>
          <p:nvPr/>
        </p:nvSpPr>
        <p:spPr>
          <a:xfrm>
            <a:off x="624782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A7D16D4-F51F-C4E7-2185-9394A59FCC60}"/>
              </a:ext>
            </a:extLst>
          </p:cNvPr>
          <p:cNvSpPr txBox="1"/>
          <p:nvPr/>
        </p:nvSpPr>
        <p:spPr>
          <a:xfrm>
            <a:off x="601307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9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F5FD544-F3B9-32C1-EA54-C2D751746FD9}"/>
              </a:ext>
            </a:extLst>
          </p:cNvPr>
          <p:cNvSpPr txBox="1"/>
          <p:nvPr/>
        </p:nvSpPr>
        <p:spPr>
          <a:xfrm>
            <a:off x="577832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76324A1-6849-2CF6-6212-9D787AB8D6BF}"/>
              </a:ext>
            </a:extLst>
          </p:cNvPr>
          <p:cNvSpPr txBox="1"/>
          <p:nvPr/>
        </p:nvSpPr>
        <p:spPr>
          <a:xfrm>
            <a:off x="554357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7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6472FEC-6C71-F472-ED0B-2C63D52D6A88}"/>
              </a:ext>
            </a:extLst>
          </p:cNvPr>
          <p:cNvSpPr txBox="1"/>
          <p:nvPr/>
        </p:nvSpPr>
        <p:spPr>
          <a:xfrm>
            <a:off x="530882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6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AEFABBD-64AE-33D6-BC8E-D696241C0036}"/>
              </a:ext>
            </a:extLst>
          </p:cNvPr>
          <p:cNvSpPr txBox="1"/>
          <p:nvPr/>
        </p:nvSpPr>
        <p:spPr>
          <a:xfrm>
            <a:off x="507406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5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D43C51-3305-2005-5799-58A387DFA777}"/>
              </a:ext>
            </a:extLst>
          </p:cNvPr>
          <p:cNvSpPr txBox="1"/>
          <p:nvPr/>
        </p:nvSpPr>
        <p:spPr>
          <a:xfrm>
            <a:off x="483931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11D6659-DDAE-5A5D-0A77-5BA6DEC94A30}"/>
              </a:ext>
            </a:extLst>
          </p:cNvPr>
          <p:cNvSpPr txBox="1"/>
          <p:nvPr/>
        </p:nvSpPr>
        <p:spPr>
          <a:xfrm>
            <a:off x="460456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B384DF8-35BA-A1DA-B000-BF4D12A3E43B}"/>
              </a:ext>
            </a:extLst>
          </p:cNvPr>
          <p:cNvSpPr txBox="1"/>
          <p:nvPr/>
        </p:nvSpPr>
        <p:spPr>
          <a:xfrm>
            <a:off x="436981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20AC023-8EC0-98A7-9DB4-0034BEBBCA7C}"/>
              </a:ext>
            </a:extLst>
          </p:cNvPr>
          <p:cNvSpPr txBox="1"/>
          <p:nvPr/>
        </p:nvSpPr>
        <p:spPr>
          <a:xfrm>
            <a:off x="413506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5651E7-853B-318F-1A8B-9A2D58BD8791}"/>
              </a:ext>
            </a:extLst>
          </p:cNvPr>
          <p:cNvSpPr txBox="1"/>
          <p:nvPr/>
        </p:nvSpPr>
        <p:spPr>
          <a:xfrm>
            <a:off x="390030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E8861C3-5EBE-5AC2-E6BB-D3B0A7D67349}"/>
              </a:ext>
            </a:extLst>
          </p:cNvPr>
          <p:cNvSpPr txBox="1"/>
          <p:nvPr/>
        </p:nvSpPr>
        <p:spPr>
          <a:xfrm>
            <a:off x="366555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9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8672519-A6B5-FC52-93DB-604E976CF864}"/>
              </a:ext>
            </a:extLst>
          </p:cNvPr>
          <p:cNvSpPr txBox="1"/>
          <p:nvPr/>
        </p:nvSpPr>
        <p:spPr>
          <a:xfrm>
            <a:off x="343080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8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97862B1-F6C8-158A-3E08-D62289D49EB6}"/>
              </a:ext>
            </a:extLst>
          </p:cNvPr>
          <p:cNvSpPr txBox="1"/>
          <p:nvPr/>
        </p:nvSpPr>
        <p:spPr>
          <a:xfrm>
            <a:off x="319605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7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772917-E8E4-4BA0-F51A-DDC772F04C5F}"/>
              </a:ext>
            </a:extLst>
          </p:cNvPr>
          <p:cNvSpPr txBox="1"/>
          <p:nvPr/>
        </p:nvSpPr>
        <p:spPr>
          <a:xfrm>
            <a:off x="296130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6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FCCD0E3-14C9-12BC-276D-852783B3B0BC}"/>
              </a:ext>
            </a:extLst>
          </p:cNvPr>
          <p:cNvSpPr txBox="1"/>
          <p:nvPr/>
        </p:nvSpPr>
        <p:spPr>
          <a:xfrm>
            <a:off x="272654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5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027BA36-5F33-C76F-C7A7-A7E3D38C83EE}"/>
              </a:ext>
            </a:extLst>
          </p:cNvPr>
          <p:cNvSpPr txBox="1"/>
          <p:nvPr/>
        </p:nvSpPr>
        <p:spPr>
          <a:xfrm>
            <a:off x="249179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8FD5BC-573D-DA8E-A4F5-71DD2EE97F7C}"/>
              </a:ext>
            </a:extLst>
          </p:cNvPr>
          <p:cNvSpPr txBox="1"/>
          <p:nvPr/>
        </p:nvSpPr>
        <p:spPr>
          <a:xfrm>
            <a:off x="225704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EB26BDC-EA1F-9D63-6462-DE55961FD66F}"/>
              </a:ext>
            </a:extLst>
          </p:cNvPr>
          <p:cNvSpPr txBox="1"/>
          <p:nvPr/>
        </p:nvSpPr>
        <p:spPr>
          <a:xfrm>
            <a:off x="202229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9A12D47-B5A1-804D-39FB-965A676EA6CB}"/>
              </a:ext>
            </a:extLst>
          </p:cNvPr>
          <p:cNvSpPr txBox="1"/>
          <p:nvPr/>
        </p:nvSpPr>
        <p:spPr>
          <a:xfrm>
            <a:off x="178754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132615D-7F81-43DA-3644-6369935F4F43}"/>
              </a:ext>
            </a:extLst>
          </p:cNvPr>
          <p:cNvSpPr txBox="1"/>
          <p:nvPr/>
        </p:nvSpPr>
        <p:spPr>
          <a:xfrm>
            <a:off x="155278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26E6915-699F-2519-4A6C-94E5852344A6}"/>
              </a:ext>
            </a:extLst>
          </p:cNvPr>
          <p:cNvSpPr txBox="1"/>
          <p:nvPr/>
        </p:nvSpPr>
        <p:spPr>
          <a:xfrm>
            <a:off x="1349788" y="4705320"/>
            <a:ext cx="1004684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Time since randomization (months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34F4000-DAC4-4224-05E8-77C5BC3402BB}"/>
              </a:ext>
            </a:extLst>
          </p:cNvPr>
          <p:cNvSpPr txBox="1"/>
          <p:nvPr/>
        </p:nvSpPr>
        <p:spPr>
          <a:xfrm rot="16200000">
            <a:off x="-433348" y="3056420"/>
            <a:ext cx="2362877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Proportion alive and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progression fre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79E87C6-6F13-54AF-A73A-723AE389EC74}"/>
              </a:ext>
            </a:extLst>
          </p:cNvPr>
          <p:cNvSpPr txBox="1"/>
          <p:nvPr/>
        </p:nvSpPr>
        <p:spPr>
          <a:xfrm>
            <a:off x="1009853" y="1969494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.0</a:t>
            </a:r>
          </a:p>
        </p:txBody>
      </p:sp>
      <p:grpSp>
        <p:nvGrpSpPr>
          <p:cNvPr id="62" name="Group 177">
            <a:extLst>
              <a:ext uri="{FF2B5EF4-FFF2-40B4-BE49-F238E27FC236}">
                <a16:creationId xmlns:a16="http://schemas.microsoft.com/office/drawing/2014/main" id="{A8D70715-EF15-9F9B-D3B6-83F19A6F01A4}"/>
              </a:ext>
            </a:extLst>
          </p:cNvPr>
          <p:cNvGrpSpPr/>
          <p:nvPr/>
        </p:nvGrpSpPr>
        <p:grpSpPr>
          <a:xfrm>
            <a:off x="1170208" y="5293805"/>
            <a:ext cx="10240907" cy="246221"/>
            <a:chOff x="1188464" y="4775785"/>
            <a:chExt cx="10240907" cy="246221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59E1F2-B250-84DE-2467-EF12F22923A7}"/>
                </a:ext>
              </a:extLst>
            </p:cNvPr>
            <p:cNvSpPr txBox="1"/>
            <p:nvPr/>
          </p:nvSpPr>
          <p:spPr>
            <a:xfrm>
              <a:off x="1117737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5E78D12-65E1-0C93-3FC5-235A96A018EB}"/>
                </a:ext>
              </a:extLst>
            </p:cNvPr>
            <p:cNvSpPr txBox="1"/>
            <p:nvPr/>
          </p:nvSpPr>
          <p:spPr>
            <a:xfrm>
              <a:off x="1094271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AEF3BA0-7850-5860-72B9-A1626080CC30}"/>
                </a:ext>
              </a:extLst>
            </p:cNvPr>
            <p:cNvSpPr txBox="1"/>
            <p:nvPr/>
          </p:nvSpPr>
          <p:spPr>
            <a:xfrm>
              <a:off x="1070806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3781ACC-4D44-119E-7087-9AE05642F611}"/>
                </a:ext>
              </a:extLst>
            </p:cNvPr>
            <p:cNvSpPr txBox="1"/>
            <p:nvPr/>
          </p:nvSpPr>
          <p:spPr>
            <a:xfrm>
              <a:off x="1047342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EEB1FDD-4B3F-F78F-4C49-490FCBB64849}"/>
                </a:ext>
              </a:extLst>
            </p:cNvPr>
            <p:cNvSpPr txBox="1"/>
            <p:nvPr/>
          </p:nvSpPr>
          <p:spPr>
            <a:xfrm>
              <a:off x="1023877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0523890-27FF-2BC0-7AA4-23ACCE184BD3}"/>
                </a:ext>
              </a:extLst>
            </p:cNvPr>
            <p:cNvSpPr txBox="1"/>
            <p:nvPr/>
          </p:nvSpPr>
          <p:spPr>
            <a:xfrm>
              <a:off x="1000412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FD7B69D-88AB-F714-21E7-CC3AC5E7C73E}"/>
                </a:ext>
              </a:extLst>
            </p:cNvPr>
            <p:cNvSpPr txBox="1"/>
            <p:nvPr/>
          </p:nvSpPr>
          <p:spPr>
            <a:xfrm>
              <a:off x="976947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5A2BE48E-B157-A4A1-9A86-9E7F93B1B667}"/>
                </a:ext>
              </a:extLst>
            </p:cNvPr>
            <p:cNvSpPr txBox="1"/>
            <p:nvPr/>
          </p:nvSpPr>
          <p:spPr>
            <a:xfrm>
              <a:off x="953482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7)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79A3FF1-3DE8-2803-E975-62F021F18995}"/>
                </a:ext>
              </a:extLst>
            </p:cNvPr>
            <p:cNvSpPr txBox="1"/>
            <p:nvPr/>
          </p:nvSpPr>
          <p:spPr>
            <a:xfrm>
              <a:off x="930017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6)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E9648A0-FB40-4686-3254-9F481CBDEC9D}"/>
                </a:ext>
              </a:extLst>
            </p:cNvPr>
            <p:cNvSpPr txBox="1"/>
            <p:nvPr/>
          </p:nvSpPr>
          <p:spPr>
            <a:xfrm>
              <a:off x="906552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6)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31DDEB9-408B-EF63-C001-B21C5DC49C54}"/>
                </a:ext>
              </a:extLst>
            </p:cNvPr>
            <p:cNvSpPr txBox="1"/>
            <p:nvPr/>
          </p:nvSpPr>
          <p:spPr>
            <a:xfrm>
              <a:off x="883087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4)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58BF770-3809-5319-0D51-8DB210309FD6}"/>
                </a:ext>
              </a:extLst>
            </p:cNvPr>
            <p:cNvSpPr txBox="1"/>
            <p:nvPr/>
          </p:nvSpPr>
          <p:spPr>
            <a:xfrm>
              <a:off x="859622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4)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55DC883-19A0-8F6F-E0C6-B73169D7BD63}"/>
                </a:ext>
              </a:extLst>
            </p:cNvPr>
            <p:cNvSpPr txBox="1"/>
            <p:nvPr/>
          </p:nvSpPr>
          <p:spPr>
            <a:xfrm>
              <a:off x="836157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4)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3FB0F50-5609-201E-7138-47B64836B5A3}"/>
                </a:ext>
              </a:extLst>
            </p:cNvPr>
            <p:cNvSpPr txBox="1"/>
            <p:nvPr/>
          </p:nvSpPr>
          <p:spPr>
            <a:xfrm>
              <a:off x="812693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3)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DA3816D-53E5-570E-602C-2C5B83BC11F2}"/>
                </a:ext>
              </a:extLst>
            </p:cNvPr>
            <p:cNvSpPr txBox="1"/>
            <p:nvPr/>
          </p:nvSpPr>
          <p:spPr>
            <a:xfrm>
              <a:off x="789228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1)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BC54D891-E7D2-8264-D959-67ECBF86C85F}"/>
                </a:ext>
              </a:extLst>
            </p:cNvPr>
            <p:cNvSpPr txBox="1"/>
            <p:nvPr/>
          </p:nvSpPr>
          <p:spPr>
            <a:xfrm>
              <a:off x="765763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9)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D9CAF89-4D49-AFF6-8C5B-C6B5A8A5448B}"/>
                </a:ext>
              </a:extLst>
            </p:cNvPr>
            <p:cNvSpPr txBox="1"/>
            <p:nvPr/>
          </p:nvSpPr>
          <p:spPr>
            <a:xfrm>
              <a:off x="742298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8)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27C3FEF-F8E3-E9D4-4400-7EE3FD1CB5F3}"/>
                </a:ext>
              </a:extLst>
            </p:cNvPr>
            <p:cNvSpPr txBox="1"/>
            <p:nvPr/>
          </p:nvSpPr>
          <p:spPr>
            <a:xfrm>
              <a:off x="718833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5)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516DB3E-2291-88E2-BB0A-D1CA1564C6D3}"/>
                </a:ext>
              </a:extLst>
            </p:cNvPr>
            <p:cNvSpPr txBox="1"/>
            <p:nvPr/>
          </p:nvSpPr>
          <p:spPr>
            <a:xfrm>
              <a:off x="695368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4)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737B83F-C136-B0D2-8F22-91B18FC90364}"/>
                </a:ext>
              </a:extLst>
            </p:cNvPr>
            <p:cNvSpPr txBox="1"/>
            <p:nvPr/>
          </p:nvSpPr>
          <p:spPr>
            <a:xfrm>
              <a:off x="671903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3)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F1BFE20-1036-0C69-E7E7-9566E2AE87AA}"/>
                </a:ext>
              </a:extLst>
            </p:cNvPr>
            <p:cNvSpPr txBox="1"/>
            <p:nvPr/>
          </p:nvSpPr>
          <p:spPr>
            <a:xfrm>
              <a:off x="648438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8)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FE0E79C-30CF-51C4-E21D-9C9B13C877FA}"/>
                </a:ext>
              </a:extLst>
            </p:cNvPr>
            <p:cNvSpPr txBox="1"/>
            <p:nvPr/>
          </p:nvSpPr>
          <p:spPr>
            <a:xfrm>
              <a:off x="624973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5)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C168674F-D4DA-7180-F1C3-2CF0326BAAF3}"/>
                </a:ext>
              </a:extLst>
            </p:cNvPr>
            <p:cNvSpPr txBox="1"/>
            <p:nvPr/>
          </p:nvSpPr>
          <p:spPr>
            <a:xfrm>
              <a:off x="601508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8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3)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08CF08B9-F9F6-FD1F-6164-39EFD7178F56}"/>
                </a:ext>
              </a:extLst>
            </p:cNvPr>
            <p:cNvSpPr txBox="1"/>
            <p:nvPr/>
          </p:nvSpPr>
          <p:spPr>
            <a:xfrm>
              <a:off x="578044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8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28)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2F254B4-3F8E-D044-86B3-5D3A4EA13088}"/>
                </a:ext>
              </a:extLst>
            </p:cNvPr>
            <p:cNvSpPr txBox="1"/>
            <p:nvPr/>
          </p:nvSpPr>
          <p:spPr>
            <a:xfrm>
              <a:off x="554579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24)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159E713-02F2-3B35-5FD3-C934991CB37D}"/>
                </a:ext>
              </a:extLst>
            </p:cNvPr>
            <p:cNvSpPr txBox="1"/>
            <p:nvPr/>
          </p:nvSpPr>
          <p:spPr>
            <a:xfrm>
              <a:off x="531114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21)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D2EE3DF-AC1D-C3B5-8E7A-3603BE0F771A}"/>
                </a:ext>
              </a:extLst>
            </p:cNvPr>
            <p:cNvSpPr txBox="1"/>
            <p:nvPr/>
          </p:nvSpPr>
          <p:spPr>
            <a:xfrm>
              <a:off x="507649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19)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2CA11243-036A-F777-BF2D-BE91971012C1}"/>
                </a:ext>
              </a:extLst>
            </p:cNvPr>
            <p:cNvSpPr txBox="1"/>
            <p:nvPr/>
          </p:nvSpPr>
          <p:spPr>
            <a:xfrm>
              <a:off x="484184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0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16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E44A4DE-1EA4-B5FE-B9B7-F18667CAABED}"/>
                </a:ext>
              </a:extLst>
            </p:cNvPr>
            <p:cNvSpPr txBox="1"/>
            <p:nvPr/>
          </p:nvSpPr>
          <p:spPr>
            <a:xfrm>
              <a:off x="460719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0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13)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5582D69-D24C-84F5-B4F1-B81B9A790E94}"/>
                </a:ext>
              </a:extLst>
            </p:cNvPr>
            <p:cNvSpPr txBox="1"/>
            <p:nvPr/>
          </p:nvSpPr>
          <p:spPr>
            <a:xfrm>
              <a:off x="437254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06)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44BF704-61E7-4F60-7E18-1732923C63B0}"/>
                </a:ext>
              </a:extLst>
            </p:cNvPr>
            <p:cNvSpPr txBox="1"/>
            <p:nvPr/>
          </p:nvSpPr>
          <p:spPr>
            <a:xfrm>
              <a:off x="413789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7)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DB998D6F-0D8B-4EC4-6B70-56198AEC5394}"/>
                </a:ext>
              </a:extLst>
            </p:cNvPr>
            <p:cNvSpPr txBox="1"/>
            <p:nvPr/>
          </p:nvSpPr>
          <p:spPr>
            <a:xfrm>
              <a:off x="390324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3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BE342D8-8E7C-736C-8AC1-B946388D94CA}"/>
                </a:ext>
              </a:extLst>
            </p:cNvPr>
            <p:cNvSpPr txBox="1"/>
            <p:nvPr/>
          </p:nvSpPr>
          <p:spPr>
            <a:xfrm>
              <a:off x="366859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1)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5EB0FF3-8A3E-62D2-2C36-B6863B04C60E}"/>
                </a:ext>
              </a:extLst>
            </p:cNvPr>
            <p:cNvSpPr txBox="1"/>
            <p:nvPr/>
          </p:nvSpPr>
          <p:spPr>
            <a:xfrm>
              <a:off x="343395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5)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F0582ED-8CD3-715D-784C-016C909B650F}"/>
                </a:ext>
              </a:extLst>
            </p:cNvPr>
            <p:cNvSpPr txBox="1"/>
            <p:nvPr/>
          </p:nvSpPr>
          <p:spPr>
            <a:xfrm>
              <a:off x="319930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1)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540668F-283B-6EEC-2487-14E0FAD03BA8}"/>
                </a:ext>
              </a:extLst>
            </p:cNvPr>
            <p:cNvSpPr txBox="1"/>
            <p:nvPr/>
          </p:nvSpPr>
          <p:spPr>
            <a:xfrm>
              <a:off x="296465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7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3)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FA09C05D-7920-55F3-BE70-01B1009AB1F9}"/>
                </a:ext>
              </a:extLst>
            </p:cNvPr>
            <p:cNvSpPr txBox="1"/>
            <p:nvPr/>
          </p:nvSpPr>
          <p:spPr>
            <a:xfrm>
              <a:off x="273000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8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7)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6AB4129-73CF-2887-91FD-2406BBA9C057}"/>
                </a:ext>
              </a:extLst>
            </p:cNvPr>
            <p:cNvSpPr txBox="1"/>
            <p:nvPr/>
          </p:nvSpPr>
          <p:spPr>
            <a:xfrm>
              <a:off x="249535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9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7)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39DA62D-B48E-326B-3F11-AD0D13ABF3DD}"/>
                </a:ext>
              </a:extLst>
            </p:cNvPr>
            <p:cNvSpPr txBox="1"/>
            <p:nvPr/>
          </p:nvSpPr>
          <p:spPr>
            <a:xfrm>
              <a:off x="226070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9)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9E6F4B0-6734-B276-BD48-F0A6CE05775B}"/>
                </a:ext>
              </a:extLst>
            </p:cNvPr>
            <p:cNvSpPr txBox="1"/>
            <p:nvPr/>
          </p:nvSpPr>
          <p:spPr>
            <a:xfrm>
              <a:off x="202605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1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2)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9D434B5-3F94-0922-D381-94FE8B933862}"/>
                </a:ext>
              </a:extLst>
            </p:cNvPr>
            <p:cNvSpPr txBox="1"/>
            <p:nvPr/>
          </p:nvSpPr>
          <p:spPr>
            <a:xfrm>
              <a:off x="179140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3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)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6501998-41BE-96AD-82E0-2C749DBE03E8}"/>
                </a:ext>
              </a:extLst>
            </p:cNvPr>
            <p:cNvSpPr txBox="1"/>
            <p:nvPr/>
          </p:nvSpPr>
          <p:spPr>
            <a:xfrm>
              <a:off x="155675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5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0)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8DCF3F1-07A9-347F-675C-FBF4551FBE31}"/>
                </a:ext>
              </a:extLst>
            </p:cNvPr>
            <p:cNvSpPr txBox="1"/>
            <p:nvPr/>
          </p:nvSpPr>
          <p:spPr>
            <a:xfrm>
              <a:off x="1188464" y="4791630"/>
              <a:ext cx="353208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20" normalizeH="0" baseline="0" noProof="0" err="1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DVd</a:t>
              </a:r>
              <a:endPara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6658A6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</p:grpSp>
      <p:grpSp>
        <p:nvGrpSpPr>
          <p:cNvPr id="106" name="Group 176">
            <a:extLst>
              <a:ext uri="{FF2B5EF4-FFF2-40B4-BE49-F238E27FC236}">
                <a16:creationId xmlns:a16="http://schemas.microsoft.com/office/drawing/2014/main" id="{08831F74-C92E-33C9-3A91-B2F33B60C7B3}"/>
              </a:ext>
            </a:extLst>
          </p:cNvPr>
          <p:cNvGrpSpPr/>
          <p:nvPr/>
        </p:nvGrpSpPr>
        <p:grpSpPr>
          <a:xfrm>
            <a:off x="1170208" y="4988914"/>
            <a:ext cx="10240907" cy="246221"/>
            <a:chOff x="1188464" y="4470894"/>
            <a:chExt cx="10240907" cy="246221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AFD55253-2099-4E93-0612-1164C2C81ADB}"/>
                </a:ext>
              </a:extLst>
            </p:cNvPr>
            <p:cNvSpPr txBox="1"/>
            <p:nvPr/>
          </p:nvSpPr>
          <p:spPr>
            <a:xfrm>
              <a:off x="1117737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2B14555F-622D-74B8-0BE5-DA936097AEE3}"/>
                </a:ext>
              </a:extLst>
            </p:cNvPr>
            <p:cNvSpPr txBox="1"/>
            <p:nvPr/>
          </p:nvSpPr>
          <p:spPr>
            <a:xfrm>
              <a:off x="1094271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CC0374E-D5AC-B508-D771-1847AC36E47C}"/>
                </a:ext>
              </a:extLst>
            </p:cNvPr>
            <p:cNvSpPr txBox="1"/>
            <p:nvPr/>
          </p:nvSpPr>
          <p:spPr>
            <a:xfrm>
              <a:off x="1070806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3FF929B-27DE-9318-FB5E-FC3B4C836DEF}"/>
                </a:ext>
              </a:extLst>
            </p:cNvPr>
            <p:cNvSpPr txBox="1"/>
            <p:nvPr/>
          </p:nvSpPr>
          <p:spPr>
            <a:xfrm>
              <a:off x="1047342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B835B86-2E92-232C-126E-11914E2FC451}"/>
                </a:ext>
              </a:extLst>
            </p:cNvPr>
            <p:cNvSpPr txBox="1"/>
            <p:nvPr/>
          </p:nvSpPr>
          <p:spPr>
            <a:xfrm>
              <a:off x="1023877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8855F02-BFC4-FF79-4B28-552EA1CB9F0A}"/>
                </a:ext>
              </a:extLst>
            </p:cNvPr>
            <p:cNvSpPr txBox="1"/>
            <p:nvPr/>
          </p:nvSpPr>
          <p:spPr>
            <a:xfrm>
              <a:off x="1000412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E177679-5871-AC6C-63E6-010BAA4B89E1}"/>
                </a:ext>
              </a:extLst>
            </p:cNvPr>
            <p:cNvSpPr txBox="1"/>
            <p:nvPr/>
          </p:nvSpPr>
          <p:spPr>
            <a:xfrm>
              <a:off x="976947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51973BC6-183B-BA8F-0749-B62FB6E25067}"/>
                </a:ext>
              </a:extLst>
            </p:cNvPr>
            <p:cNvSpPr txBox="1"/>
            <p:nvPr/>
          </p:nvSpPr>
          <p:spPr>
            <a:xfrm>
              <a:off x="953482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8B70862-AAC1-FD44-EDB1-C0A270207DD0}"/>
                </a:ext>
              </a:extLst>
            </p:cNvPr>
            <p:cNvSpPr txBox="1"/>
            <p:nvPr/>
          </p:nvSpPr>
          <p:spPr>
            <a:xfrm>
              <a:off x="930017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9)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1391E0D-E571-08C8-41FD-F91D91977A4B}"/>
                </a:ext>
              </a:extLst>
            </p:cNvPr>
            <p:cNvSpPr txBox="1"/>
            <p:nvPr/>
          </p:nvSpPr>
          <p:spPr>
            <a:xfrm>
              <a:off x="906552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9)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AFF656-71B5-0225-E664-D8FFAA712B5E}"/>
                </a:ext>
              </a:extLst>
            </p:cNvPr>
            <p:cNvSpPr txBox="1"/>
            <p:nvPr/>
          </p:nvSpPr>
          <p:spPr>
            <a:xfrm>
              <a:off x="883087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4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8)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0BD34B12-DEA1-356D-8D86-8AF2645639FD}"/>
                </a:ext>
              </a:extLst>
            </p:cNvPr>
            <p:cNvSpPr txBox="1"/>
            <p:nvPr/>
          </p:nvSpPr>
          <p:spPr>
            <a:xfrm>
              <a:off x="859622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6)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4A84890-5649-8EDE-2665-AD8037A707AD}"/>
                </a:ext>
              </a:extLst>
            </p:cNvPr>
            <p:cNvSpPr txBox="1"/>
            <p:nvPr/>
          </p:nvSpPr>
          <p:spPr>
            <a:xfrm>
              <a:off x="836157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6)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E079B9F-89CB-A2F6-8641-1D1D415F845B}"/>
                </a:ext>
              </a:extLst>
            </p:cNvPr>
            <p:cNvSpPr txBox="1"/>
            <p:nvPr/>
          </p:nvSpPr>
          <p:spPr>
            <a:xfrm>
              <a:off x="812693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2)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35F67670-7A08-D8DA-EE21-8FC2640346AA}"/>
                </a:ext>
              </a:extLst>
            </p:cNvPr>
            <p:cNvSpPr txBox="1"/>
            <p:nvPr/>
          </p:nvSpPr>
          <p:spPr>
            <a:xfrm>
              <a:off x="789228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1)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95D285B-AC9F-A1F1-0A60-BE408F4E8566}"/>
                </a:ext>
              </a:extLst>
            </p:cNvPr>
            <p:cNvSpPr txBox="1"/>
            <p:nvPr/>
          </p:nvSpPr>
          <p:spPr>
            <a:xfrm>
              <a:off x="765763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9)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EF7D065-8AB3-8E52-1705-BBA7200488BA}"/>
                </a:ext>
              </a:extLst>
            </p:cNvPr>
            <p:cNvSpPr txBox="1"/>
            <p:nvPr/>
          </p:nvSpPr>
          <p:spPr>
            <a:xfrm>
              <a:off x="742298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8)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99929EF-B912-636F-69F5-D61C6465BFA4}"/>
                </a:ext>
              </a:extLst>
            </p:cNvPr>
            <p:cNvSpPr txBox="1"/>
            <p:nvPr/>
          </p:nvSpPr>
          <p:spPr>
            <a:xfrm>
              <a:off x="718833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4)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5F15D9F-BA87-FC2F-D512-F39F695CA1DC}"/>
                </a:ext>
              </a:extLst>
            </p:cNvPr>
            <p:cNvSpPr txBox="1"/>
            <p:nvPr/>
          </p:nvSpPr>
          <p:spPr>
            <a:xfrm>
              <a:off x="695368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1)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7B1848B-5D9F-5C74-FEF9-999D2230ECF4}"/>
                </a:ext>
              </a:extLst>
            </p:cNvPr>
            <p:cNvSpPr txBox="1"/>
            <p:nvPr/>
          </p:nvSpPr>
          <p:spPr>
            <a:xfrm>
              <a:off x="671903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0)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4904DA17-8FA4-F9B9-9D7F-AA79DBC35CAF}"/>
                </a:ext>
              </a:extLst>
            </p:cNvPr>
            <p:cNvSpPr txBox="1"/>
            <p:nvPr/>
          </p:nvSpPr>
          <p:spPr>
            <a:xfrm>
              <a:off x="648438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9)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AD8FD4-6BE4-642B-A4D1-393255D3EF2B}"/>
                </a:ext>
              </a:extLst>
            </p:cNvPr>
            <p:cNvSpPr txBox="1"/>
            <p:nvPr/>
          </p:nvSpPr>
          <p:spPr>
            <a:xfrm>
              <a:off x="624973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7)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4F85462-6356-DC96-F23F-7A761872331E}"/>
                </a:ext>
              </a:extLst>
            </p:cNvPr>
            <p:cNvSpPr txBox="1"/>
            <p:nvPr/>
          </p:nvSpPr>
          <p:spPr>
            <a:xfrm>
              <a:off x="601508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7)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FE6C776-39F4-C7F4-6880-041405266D9B}"/>
                </a:ext>
              </a:extLst>
            </p:cNvPr>
            <p:cNvSpPr txBox="1"/>
            <p:nvPr/>
          </p:nvSpPr>
          <p:spPr>
            <a:xfrm>
              <a:off x="578044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6)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18CEB377-58CF-C941-1919-13EAC69FCFCC}"/>
                </a:ext>
              </a:extLst>
            </p:cNvPr>
            <p:cNvSpPr txBox="1"/>
            <p:nvPr/>
          </p:nvSpPr>
          <p:spPr>
            <a:xfrm>
              <a:off x="554579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3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3)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CC0D6B6-868E-583E-F36C-262B01A61928}"/>
                </a:ext>
              </a:extLst>
            </p:cNvPr>
            <p:cNvSpPr txBox="1"/>
            <p:nvPr/>
          </p:nvSpPr>
          <p:spPr>
            <a:xfrm>
              <a:off x="531114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3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0)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CAB95F1-7268-91B4-F0AC-2D18FCC55BDA}"/>
                </a:ext>
              </a:extLst>
            </p:cNvPr>
            <p:cNvSpPr txBox="1"/>
            <p:nvPr/>
          </p:nvSpPr>
          <p:spPr>
            <a:xfrm>
              <a:off x="507649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9)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8A20275B-2945-C776-62B9-1E2F75FD9B35}"/>
                </a:ext>
              </a:extLst>
            </p:cNvPr>
            <p:cNvSpPr txBox="1"/>
            <p:nvPr/>
          </p:nvSpPr>
          <p:spPr>
            <a:xfrm>
              <a:off x="484184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3)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8738745-B2AD-F8B8-96C0-4FC801E426D1}"/>
                </a:ext>
              </a:extLst>
            </p:cNvPr>
            <p:cNvSpPr txBox="1"/>
            <p:nvPr/>
          </p:nvSpPr>
          <p:spPr>
            <a:xfrm>
              <a:off x="460719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1)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CA076A12-F94F-BEBA-C67F-6D55FADCD24A}"/>
                </a:ext>
              </a:extLst>
            </p:cNvPr>
            <p:cNvSpPr txBox="1"/>
            <p:nvPr/>
          </p:nvSpPr>
          <p:spPr>
            <a:xfrm>
              <a:off x="437254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8)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BF8FDC16-015A-3333-4CC9-A812BCA109CC}"/>
                </a:ext>
              </a:extLst>
            </p:cNvPr>
            <p:cNvSpPr txBox="1"/>
            <p:nvPr/>
          </p:nvSpPr>
          <p:spPr>
            <a:xfrm>
              <a:off x="413789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6)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97B539BF-73D0-D430-B309-BE1DB7B97A4C}"/>
                </a:ext>
              </a:extLst>
            </p:cNvPr>
            <p:cNvSpPr txBox="1"/>
            <p:nvPr/>
          </p:nvSpPr>
          <p:spPr>
            <a:xfrm>
              <a:off x="390324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6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5)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39E1CD6-C14C-5440-94D1-BE8EFF038899}"/>
                </a:ext>
              </a:extLst>
            </p:cNvPr>
            <p:cNvSpPr txBox="1"/>
            <p:nvPr/>
          </p:nvSpPr>
          <p:spPr>
            <a:xfrm>
              <a:off x="366859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7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9)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FACC96E1-68DC-822B-1F41-39024A0F4D2C}"/>
                </a:ext>
              </a:extLst>
            </p:cNvPr>
            <p:cNvSpPr txBox="1"/>
            <p:nvPr/>
          </p:nvSpPr>
          <p:spPr>
            <a:xfrm>
              <a:off x="343395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7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6)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F57864F-76D4-6B9C-8ED9-BAC2FF288EC8}"/>
                </a:ext>
              </a:extLst>
            </p:cNvPr>
            <p:cNvSpPr txBox="1"/>
            <p:nvPr/>
          </p:nvSpPr>
          <p:spPr>
            <a:xfrm>
              <a:off x="319930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8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2)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7859B79-4501-D27F-F114-CBD68A57BB53}"/>
                </a:ext>
              </a:extLst>
            </p:cNvPr>
            <p:cNvSpPr txBox="1"/>
            <p:nvPr/>
          </p:nvSpPr>
          <p:spPr>
            <a:xfrm>
              <a:off x="296465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9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8)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C2892B65-EF27-0952-6A2D-BD907A157735}"/>
                </a:ext>
              </a:extLst>
            </p:cNvPr>
            <p:cNvSpPr txBox="1"/>
            <p:nvPr/>
          </p:nvSpPr>
          <p:spPr>
            <a:xfrm>
              <a:off x="273000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0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5)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439C24C4-2C5F-8280-1DFE-3BC468EA64F0}"/>
                </a:ext>
              </a:extLst>
            </p:cNvPr>
            <p:cNvSpPr txBox="1"/>
            <p:nvPr/>
          </p:nvSpPr>
          <p:spPr>
            <a:xfrm>
              <a:off x="249535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1)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F9BF8FF0-F491-E4E6-2E82-361D0B6D6399}"/>
                </a:ext>
              </a:extLst>
            </p:cNvPr>
            <p:cNvSpPr txBox="1"/>
            <p:nvPr/>
          </p:nvSpPr>
          <p:spPr>
            <a:xfrm>
              <a:off x="226070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7)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AE6A8FDB-F570-060A-B54A-BC673FEF180E}"/>
                </a:ext>
              </a:extLst>
            </p:cNvPr>
            <p:cNvSpPr txBox="1"/>
            <p:nvPr/>
          </p:nvSpPr>
          <p:spPr>
            <a:xfrm>
              <a:off x="202605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2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)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E9E5322-25CE-CE13-2335-0D1B3A3F8B1B}"/>
                </a:ext>
              </a:extLst>
            </p:cNvPr>
            <p:cNvSpPr txBox="1"/>
            <p:nvPr/>
          </p:nvSpPr>
          <p:spPr>
            <a:xfrm>
              <a:off x="179140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3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)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FDC6616A-AC95-B03D-3B75-ACE63AFDB9E8}"/>
                </a:ext>
              </a:extLst>
            </p:cNvPr>
            <p:cNvSpPr txBox="1"/>
            <p:nvPr/>
          </p:nvSpPr>
          <p:spPr>
            <a:xfrm>
              <a:off x="155675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4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0)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639CBF-BE31-F7F7-A7A5-0486FA112F3A}"/>
                </a:ext>
              </a:extLst>
            </p:cNvPr>
            <p:cNvSpPr txBox="1"/>
            <p:nvPr/>
          </p:nvSpPr>
          <p:spPr>
            <a:xfrm>
              <a:off x="1188464" y="4495077"/>
              <a:ext cx="353208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20" normalizeH="0" baseline="0" noProof="0" err="1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BVd</a:t>
              </a:r>
              <a:endPara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7227ACBA-C001-2D60-BA11-D8C153A269D3}"/>
              </a:ext>
            </a:extLst>
          </p:cNvPr>
          <p:cNvSpPr txBox="1"/>
          <p:nvPr/>
        </p:nvSpPr>
        <p:spPr>
          <a:xfrm>
            <a:off x="811823" y="4621436"/>
            <a:ext cx="1094873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No. at ris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(No. of events)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02942F6F-69F0-DE10-1938-3C44CFF46B3C}"/>
              </a:ext>
            </a:extLst>
          </p:cNvPr>
          <p:cNvSpPr txBox="1"/>
          <p:nvPr/>
        </p:nvSpPr>
        <p:spPr>
          <a:xfrm>
            <a:off x="1009853" y="2429139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8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2E00547F-C4F0-5EDF-DE52-32B1DC0D6695}"/>
              </a:ext>
            </a:extLst>
          </p:cNvPr>
          <p:cNvSpPr txBox="1"/>
          <p:nvPr/>
        </p:nvSpPr>
        <p:spPr>
          <a:xfrm>
            <a:off x="1009853" y="2888784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6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35F9F00-ECCB-879F-4E36-A652E0EF22ED}"/>
              </a:ext>
            </a:extLst>
          </p:cNvPr>
          <p:cNvSpPr txBox="1"/>
          <p:nvPr/>
        </p:nvSpPr>
        <p:spPr>
          <a:xfrm>
            <a:off x="1009853" y="3348429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4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7E131250-F937-CB60-9B91-3EF7B38BD117}"/>
              </a:ext>
            </a:extLst>
          </p:cNvPr>
          <p:cNvSpPr txBox="1"/>
          <p:nvPr/>
        </p:nvSpPr>
        <p:spPr>
          <a:xfrm>
            <a:off x="1009853" y="3808074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2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F958CF7-48B4-61E6-618B-D0C26926C4D2}"/>
              </a:ext>
            </a:extLst>
          </p:cNvPr>
          <p:cNvSpPr txBox="1"/>
          <p:nvPr/>
        </p:nvSpPr>
        <p:spPr>
          <a:xfrm>
            <a:off x="1009853" y="4267720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0</a:t>
            </a:r>
          </a:p>
        </p:txBody>
      </p:sp>
      <p:cxnSp>
        <p:nvCxnSpPr>
          <p:cNvPr id="156" name="Straight Connector 184">
            <a:extLst>
              <a:ext uri="{FF2B5EF4-FFF2-40B4-BE49-F238E27FC236}">
                <a16:creationId xmlns:a16="http://schemas.microsoft.com/office/drawing/2014/main" id="{4620E491-620F-8B77-10E2-7B78F63C5A3E}"/>
              </a:ext>
            </a:extLst>
          </p:cNvPr>
          <p:cNvCxnSpPr/>
          <p:nvPr/>
        </p:nvCxnSpPr>
        <p:spPr>
          <a:xfrm>
            <a:off x="1292812" y="206441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87">
            <a:extLst>
              <a:ext uri="{FF2B5EF4-FFF2-40B4-BE49-F238E27FC236}">
                <a16:creationId xmlns:a16="http://schemas.microsoft.com/office/drawing/2014/main" id="{16476770-4B9B-C967-C35D-CA6A18E99F4F}"/>
              </a:ext>
            </a:extLst>
          </p:cNvPr>
          <p:cNvCxnSpPr/>
          <p:nvPr/>
        </p:nvCxnSpPr>
        <p:spPr>
          <a:xfrm>
            <a:off x="1292812" y="436356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88">
            <a:extLst>
              <a:ext uri="{FF2B5EF4-FFF2-40B4-BE49-F238E27FC236}">
                <a16:creationId xmlns:a16="http://schemas.microsoft.com/office/drawing/2014/main" id="{39AA8365-B140-9033-F663-4B4EA23A2B1E}"/>
              </a:ext>
            </a:extLst>
          </p:cNvPr>
          <p:cNvCxnSpPr>
            <a:cxnSpLocks/>
          </p:cNvCxnSpPr>
          <p:nvPr/>
        </p:nvCxnSpPr>
        <p:spPr>
          <a:xfrm rot="5400000">
            <a:off x="163380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91">
            <a:extLst>
              <a:ext uri="{FF2B5EF4-FFF2-40B4-BE49-F238E27FC236}">
                <a16:creationId xmlns:a16="http://schemas.microsoft.com/office/drawing/2014/main" id="{35135D64-2E90-897E-F0EF-6D9FDEC4ABA4}"/>
              </a:ext>
            </a:extLst>
          </p:cNvPr>
          <p:cNvCxnSpPr>
            <a:cxnSpLocks/>
          </p:cNvCxnSpPr>
          <p:nvPr/>
        </p:nvCxnSpPr>
        <p:spPr>
          <a:xfrm rot="5400000">
            <a:off x="186849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92">
            <a:extLst>
              <a:ext uri="{FF2B5EF4-FFF2-40B4-BE49-F238E27FC236}">
                <a16:creationId xmlns:a16="http://schemas.microsoft.com/office/drawing/2014/main" id="{C59CB11D-45CA-80B0-0B38-B82B51F6C216}"/>
              </a:ext>
            </a:extLst>
          </p:cNvPr>
          <p:cNvCxnSpPr>
            <a:cxnSpLocks/>
          </p:cNvCxnSpPr>
          <p:nvPr/>
        </p:nvCxnSpPr>
        <p:spPr>
          <a:xfrm rot="5400000">
            <a:off x="210318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93">
            <a:extLst>
              <a:ext uri="{FF2B5EF4-FFF2-40B4-BE49-F238E27FC236}">
                <a16:creationId xmlns:a16="http://schemas.microsoft.com/office/drawing/2014/main" id="{5115F2D4-DD5B-8447-ABC0-0EBB46E4486D}"/>
              </a:ext>
            </a:extLst>
          </p:cNvPr>
          <p:cNvCxnSpPr>
            <a:cxnSpLocks/>
          </p:cNvCxnSpPr>
          <p:nvPr/>
        </p:nvCxnSpPr>
        <p:spPr>
          <a:xfrm rot="5400000">
            <a:off x="233786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94">
            <a:extLst>
              <a:ext uri="{FF2B5EF4-FFF2-40B4-BE49-F238E27FC236}">
                <a16:creationId xmlns:a16="http://schemas.microsoft.com/office/drawing/2014/main" id="{33E2E1A1-6177-3C51-78A4-8036E87012D9}"/>
              </a:ext>
            </a:extLst>
          </p:cNvPr>
          <p:cNvCxnSpPr>
            <a:cxnSpLocks/>
          </p:cNvCxnSpPr>
          <p:nvPr/>
        </p:nvCxnSpPr>
        <p:spPr>
          <a:xfrm rot="5400000">
            <a:off x="257255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95">
            <a:extLst>
              <a:ext uri="{FF2B5EF4-FFF2-40B4-BE49-F238E27FC236}">
                <a16:creationId xmlns:a16="http://schemas.microsoft.com/office/drawing/2014/main" id="{ADCB553C-DC5B-1DD2-FBFA-DA106E4FC455}"/>
              </a:ext>
            </a:extLst>
          </p:cNvPr>
          <p:cNvCxnSpPr>
            <a:cxnSpLocks/>
          </p:cNvCxnSpPr>
          <p:nvPr/>
        </p:nvCxnSpPr>
        <p:spPr>
          <a:xfrm rot="5400000">
            <a:off x="280723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96">
            <a:extLst>
              <a:ext uri="{FF2B5EF4-FFF2-40B4-BE49-F238E27FC236}">
                <a16:creationId xmlns:a16="http://schemas.microsoft.com/office/drawing/2014/main" id="{F4A82B71-9711-524E-970D-8DD56B755671}"/>
              </a:ext>
            </a:extLst>
          </p:cNvPr>
          <p:cNvCxnSpPr>
            <a:cxnSpLocks/>
          </p:cNvCxnSpPr>
          <p:nvPr/>
        </p:nvCxnSpPr>
        <p:spPr>
          <a:xfrm rot="5400000">
            <a:off x="304192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97">
            <a:extLst>
              <a:ext uri="{FF2B5EF4-FFF2-40B4-BE49-F238E27FC236}">
                <a16:creationId xmlns:a16="http://schemas.microsoft.com/office/drawing/2014/main" id="{D6744774-B64C-53AE-A9CF-AADE10D1CF39}"/>
              </a:ext>
            </a:extLst>
          </p:cNvPr>
          <p:cNvCxnSpPr>
            <a:cxnSpLocks/>
          </p:cNvCxnSpPr>
          <p:nvPr/>
        </p:nvCxnSpPr>
        <p:spPr>
          <a:xfrm rot="5400000">
            <a:off x="327661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98">
            <a:extLst>
              <a:ext uri="{FF2B5EF4-FFF2-40B4-BE49-F238E27FC236}">
                <a16:creationId xmlns:a16="http://schemas.microsoft.com/office/drawing/2014/main" id="{57B2B871-CB3C-6C20-FF42-D7C9CA872543}"/>
              </a:ext>
            </a:extLst>
          </p:cNvPr>
          <p:cNvCxnSpPr>
            <a:cxnSpLocks/>
          </p:cNvCxnSpPr>
          <p:nvPr/>
        </p:nvCxnSpPr>
        <p:spPr>
          <a:xfrm rot="5400000">
            <a:off x="351129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99">
            <a:extLst>
              <a:ext uri="{FF2B5EF4-FFF2-40B4-BE49-F238E27FC236}">
                <a16:creationId xmlns:a16="http://schemas.microsoft.com/office/drawing/2014/main" id="{CE3B7C9A-27B6-7219-7E02-A60783E1FD34}"/>
              </a:ext>
            </a:extLst>
          </p:cNvPr>
          <p:cNvCxnSpPr>
            <a:cxnSpLocks/>
          </p:cNvCxnSpPr>
          <p:nvPr/>
        </p:nvCxnSpPr>
        <p:spPr>
          <a:xfrm rot="5400000">
            <a:off x="374598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200">
            <a:extLst>
              <a:ext uri="{FF2B5EF4-FFF2-40B4-BE49-F238E27FC236}">
                <a16:creationId xmlns:a16="http://schemas.microsoft.com/office/drawing/2014/main" id="{988C5CC6-FCEB-4112-017F-E82A843612C4}"/>
              </a:ext>
            </a:extLst>
          </p:cNvPr>
          <p:cNvCxnSpPr>
            <a:cxnSpLocks/>
          </p:cNvCxnSpPr>
          <p:nvPr/>
        </p:nvCxnSpPr>
        <p:spPr>
          <a:xfrm rot="5400000">
            <a:off x="398066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201">
            <a:extLst>
              <a:ext uri="{FF2B5EF4-FFF2-40B4-BE49-F238E27FC236}">
                <a16:creationId xmlns:a16="http://schemas.microsoft.com/office/drawing/2014/main" id="{A50AF249-ADF8-B4F8-A0B5-F0EBE323F108}"/>
              </a:ext>
            </a:extLst>
          </p:cNvPr>
          <p:cNvCxnSpPr>
            <a:cxnSpLocks/>
          </p:cNvCxnSpPr>
          <p:nvPr/>
        </p:nvCxnSpPr>
        <p:spPr>
          <a:xfrm rot="5400000">
            <a:off x="421535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202">
            <a:extLst>
              <a:ext uri="{FF2B5EF4-FFF2-40B4-BE49-F238E27FC236}">
                <a16:creationId xmlns:a16="http://schemas.microsoft.com/office/drawing/2014/main" id="{2A995A33-B8C6-1F8F-5F04-AEF2C34A5996}"/>
              </a:ext>
            </a:extLst>
          </p:cNvPr>
          <p:cNvCxnSpPr>
            <a:cxnSpLocks/>
          </p:cNvCxnSpPr>
          <p:nvPr/>
        </p:nvCxnSpPr>
        <p:spPr>
          <a:xfrm rot="5400000">
            <a:off x="445004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203">
            <a:extLst>
              <a:ext uri="{FF2B5EF4-FFF2-40B4-BE49-F238E27FC236}">
                <a16:creationId xmlns:a16="http://schemas.microsoft.com/office/drawing/2014/main" id="{A33D4110-D254-539F-AAC7-A9CCCC377B3C}"/>
              </a:ext>
            </a:extLst>
          </p:cNvPr>
          <p:cNvCxnSpPr>
            <a:cxnSpLocks/>
          </p:cNvCxnSpPr>
          <p:nvPr/>
        </p:nvCxnSpPr>
        <p:spPr>
          <a:xfrm rot="5400000">
            <a:off x="468472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204">
            <a:extLst>
              <a:ext uri="{FF2B5EF4-FFF2-40B4-BE49-F238E27FC236}">
                <a16:creationId xmlns:a16="http://schemas.microsoft.com/office/drawing/2014/main" id="{8E78F8B3-C5FA-93F4-77AD-AB70DF0526F6}"/>
              </a:ext>
            </a:extLst>
          </p:cNvPr>
          <p:cNvCxnSpPr>
            <a:cxnSpLocks/>
          </p:cNvCxnSpPr>
          <p:nvPr/>
        </p:nvCxnSpPr>
        <p:spPr>
          <a:xfrm rot="5400000">
            <a:off x="491941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205">
            <a:extLst>
              <a:ext uri="{FF2B5EF4-FFF2-40B4-BE49-F238E27FC236}">
                <a16:creationId xmlns:a16="http://schemas.microsoft.com/office/drawing/2014/main" id="{170F26AF-9251-3772-0E3C-94654B3C3C3C}"/>
              </a:ext>
            </a:extLst>
          </p:cNvPr>
          <p:cNvCxnSpPr>
            <a:cxnSpLocks/>
          </p:cNvCxnSpPr>
          <p:nvPr/>
        </p:nvCxnSpPr>
        <p:spPr>
          <a:xfrm rot="5400000">
            <a:off x="515409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206">
            <a:extLst>
              <a:ext uri="{FF2B5EF4-FFF2-40B4-BE49-F238E27FC236}">
                <a16:creationId xmlns:a16="http://schemas.microsoft.com/office/drawing/2014/main" id="{4EC43330-E222-80AB-D12E-4687D6ABDB3A}"/>
              </a:ext>
            </a:extLst>
          </p:cNvPr>
          <p:cNvCxnSpPr>
            <a:cxnSpLocks/>
          </p:cNvCxnSpPr>
          <p:nvPr/>
        </p:nvCxnSpPr>
        <p:spPr>
          <a:xfrm rot="5400000">
            <a:off x="538878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207">
            <a:extLst>
              <a:ext uri="{FF2B5EF4-FFF2-40B4-BE49-F238E27FC236}">
                <a16:creationId xmlns:a16="http://schemas.microsoft.com/office/drawing/2014/main" id="{22067EA0-1B6A-B26F-D0DE-BC8E6E8DE095}"/>
              </a:ext>
            </a:extLst>
          </p:cNvPr>
          <p:cNvCxnSpPr>
            <a:cxnSpLocks/>
          </p:cNvCxnSpPr>
          <p:nvPr/>
        </p:nvCxnSpPr>
        <p:spPr>
          <a:xfrm rot="5400000">
            <a:off x="562347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208">
            <a:extLst>
              <a:ext uri="{FF2B5EF4-FFF2-40B4-BE49-F238E27FC236}">
                <a16:creationId xmlns:a16="http://schemas.microsoft.com/office/drawing/2014/main" id="{0D600F29-BCE2-6F0C-66B0-763916FECD8A}"/>
              </a:ext>
            </a:extLst>
          </p:cNvPr>
          <p:cNvCxnSpPr>
            <a:cxnSpLocks/>
          </p:cNvCxnSpPr>
          <p:nvPr/>
        </p:nvCxnSpPr>
        <p:spPr>
          <a:xfrm rot="5400000">
            <a:off x="585815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209">
            <a:extLst>
              <a:ext uri="{FF2B5EF4-FFF2-40B4-BE49-F238E27FC236}">
                <a16:creationId xmlns:a16="http://schemas.microsoft.com/office/drawing/2014/main" id="{00C6CEE2-151B-9E64-7147-C63C0DB32664}"/>
              </a:ext>
            </a:extLst>
          </p:cNvPr>
          <p:cNvCxnSpPr>
            <a:cxnSpLocks/>
          </p:cNvCxnSpPr>
          <p:nvPr/>
        </p:nvCxnSpPr>
        <p:spPr>
          <a:xfrm rot="5400000">
            <a:off x="609284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210">
            <a:extLst>
              <a:ext uri="{FF2B5EF4-FFF2-40B4-BE49-F238E27FC236}">
                <a16:creationId xmlns:a16="http://schemas.microsoft.com/office/drawing/2014/main" id="{A2B7F894-2E1A-3697-08EB-B3CBFD99FF8C}"/>
              </a:ext>
            </a:extLst>
          </p:cNvPr>
          <p:cNvCxnSpPr>
            <a:cxnSpLocks/>
          </p:cNvCxnSpPr>
          <p:nvPr/>
        </p:nvCxnSpPr>
        <p:spPr>
          <a:xfrm rot="5400000">
            <a:off x="632752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211">
            <a:extLst>
              <a:ext uri="{FF2B5EF4-FFF2-40B4-BE49-F238E27FC236}">
                <a16:creationId xmlns:a16="http://schemas.microsoft.com/office/drawing/2014/main" id="{BE1CD581-1039-7123-82A4-6ACE0A6DD458}"/>
              </a:ext>
            </a:extLst>
          </p:cNvPr>
          <p:cNvCxnSpPr>
            <a:cxnSpLocks/>
          </p:cNvCxnSpPr>
          <p:nvPr/>
        </p:nvCxnSpPr>
        <p:spPr>
          <a:xfrm rot="5400000">
            <a:off x="656221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212">
            <a:extLst>
              <a:ext uri="{FF2B5EF4-FFF2-40B4-BE49-F238E27FC236}">
                <a16:creationId xmlns:a16="http://schemas.microsoft.com/office/drawing/2014/main" id="{CBD650B1-9F92-EEB1-C3AB-81BF38376B18}"/>
              </a:ext>
            </a:extLst>
          </p:cNvPr>
          <p:cNvCxnSpPr>
            <a:cxnSpLocks/>
          </p:cNvCxnSpPr>
          <p:nvPr/>
        </p:nvCxnSpPr>
        <p:spPr>
          <a:xfrm rot="5400000">
            <a:off x="679690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213">
            <a:extLst>
              <a:ext uri="{FF2B5EF4-FFF2-40B4-BE49-F238E27FC236}">
                <a16:creationId xmlns:a16="http://schemas.microsoft.com/office/drawing/2014/main" id="{10AC5D0B-2D04-FD59-298B-4188D363B0EE}"/>
              </a:ext>
            </a:extLst>
          </p:cNvPr>
          <p:cNvCxnSpPr>
            <a:cxnSpLocks/>
          </p:cNvCxnSpPr>
          <p:nvPr/>
        </p:nvCxnSpPr>
        <p:spPr>
          <a:xfrm rot="5400000">
            <a:off x="703158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214">
            <a:extLst>
              <a:ext uri="{FF2B5EF4-FFF2-40B4-BE49-F238E27FC236}">
                <a16:creationId xmlns:a16="http://schemas.microsoft.com/office/drawing/2014/main" id="{C64A00DE-B008-EF5B-8412-5DABA090518C}"/>
              </a:ext>
            </a:extLst>
          </p:cNvPr>
          <p:cNvCxnSpPr>
            <a:cxnSpLocks/>
          </p:cNvCxnSpPr>
          <p:nvPr/>
        </p:nvCxnSpPr>
        <p:spPr>
          <a:xfrm rot="5400000">
            <a:off x="726627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215">
            <a:extLst>
              <a:ext uri="{FF2B5EF4-FFF2-40B4-BE49-F238E27FC236}">
                <a16:creationId xmlns:a16="http://schemas.microsoft.com/office/drawing/2014/main" id="{79B68720-8FED-9B58-F85A-1C145B8CF99B}"/>
              </a:ext>
            </a:extLst>
          </p:cNvPr>
          <p:cNvCxnSpPr>
            <a:cxnSpLocks/>
          </p:cNvCxnSpPr>
          <p:nvPr/>
        </p:nvCxnSpPr>
        <p:spPr>
          <a:xfrm rot="5400000">
            <a:off x="750095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216">
            <a:extLst>
              <a:ext uri="{FF2B5EF4-FFF2-40B4-BE49-F238E27FC236}">
                <a16:creationId xmlns:a16="http://schemas.microsoft.com/office/drawing/2014/main" id="{D0C2C9CC-4341-3E29-F391-222B2D658925}"/>
              </a:ext>
            </a:extLst>
          </p:cNvPr>
          <p:cNvCxnSpPr>
            <a:cxnSpLocks/>
          </p:cNvCxnSpPr>
          <p:nvPr/>
        </p:nvCxnSpPr>
        <p:spPr>
          <a:xfrm rot="5400000">
            <a:off x="773564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217">
            <a:extLst>
              <a:ext uri="{FF2B5EF4-FFF2-40B4-BE49-F238E27FC236}">
                <a16:creationId xmlns:a16="http://schemas.microsoft.com/office/drawing/2014/main" id="{8A93C8B8-1EB0-2E9F-7768-23F4431B3697}"/>
              </a:ext>
            </a:extLst>
          </p:cNvPr>
          <p:cNvCxnSpPr>
            <a:cxnSpLocks/>
          </p:cNvCxnSpPr>
          <p:nvPr/>
        </p:nvCxnSpPr>
        <p:spPr>
          <a:xfrm rot="5400000">
            <a:off x="797033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218">
            <a:extLst>
              <a:ext uri="{FF2B5EF4-FFF2-40B4-BE49-F238E27FC236}">
                <a16:creationId xmlns:a16="http://schemas.microsoft.com/office/drawing/2014/main" id="{01054609-DD6A-5E90-4EDC-1BA43D1CBA77}"/>
              </a:ext>
            </a:extLst>
          </p:cNvPr>
          <p:cNvCxnSpPr>
            <a:cxnSpLocks/>
          </p:cNvCxnSpPr>
          <p:nvPr/>
        </p:nvCxnSpPr>
        <p:spPr>
          <a:xfrm rot="5400000">
            <a:off x="820501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219">
            <a:extLst>
              <a:ext uri="{FF2B5EF4-FFF2-40B4-BE49-F238E27FC236}">
                <a16:creationId xmlns:a16="http://schemas.microsoft.com/office/drawing/2014/main" id="{16A3D300-34F7-F6C6-D521-48EFE7DEAA53}"/>
              </a:ext>
            </a:extLst>
          </p:cNvPr>
          <p:cNvCxnSpPr>
            <a:cxnSpLocks/>
          </p:cNvCxnSpPr>
          <p:nvPr/>
        </p:nvCxnSpPr>
        <p:spPr>
          <a:xfrm rot="5400000">
            <a:off x="843970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220">
            <a:extLst>
              <a:ext uri="{FF2B5EF4-FFF2-40B4-BE49-F238E27FC236}">
                <a16:creationId xmlns:a16="http://schemas.microsoft.com/office/drawing/2014/main" id="{382697E0-471A-CDF1-1F77-F1127684E31C}"/>
              </a:ext>
            </a:extLst>
          </p:cNvPr>
          <p:cNvCxnSpPr>
            <a:cxnSpLocks/>
          </p:cNvCxnSpPr>
          <p:nvPr/>
        </p:nvCxnSpPr>
        <p:spPr>
          <a:xfrm rot="5400000">
            <a:off x="867438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221">
            <a:extLst>
              <a:ext uri="{FF2B5EF4-FFF2-40B4-BE49-F238E27FC236}">
                <a16:creationId xmlns:a16="http://schemas.microsoft.com/office/drawing/2014/main" id="{70C2E67D-AF81-B859-1AA3-DA6A18A6854B}"/>
              </a:ext>
            </a:extLst>
          </p:cNvPr>
          <p:cNvCxnSpPr>
            <a:cxnSpLocks/>
          </p:cNvCxnSpPr>
          <p:nvPr/>
        </p:nvCxnSpPr>
        <p:spPr>
          <a:xfrm rot="5400000">
            <a:off x="890907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222">
            <a:extLst>
              <a:ext uri="{FF2B5EF4-FFF2-40B4-BE49-F238E27FC236}">
                <a16:creationId xmlns:a16="http://schemas.microsoft.com/office/drawing/2014/main" id="{45838263-140B-E68B-6FF1-D3E4EA96C041}"/>
              </a:ext>
            </a:extLst>
          </p:cNvPr>
          <p:cNvCxnSpPr>
            <a:cxnSpLocks/>
          </p:cNvCxnSpPr>
          <p:nvPr/>
        </p:nvCxnSpPr>
        <p:spPr>
          <a:xfrm rot="5400000">
            <a:off x="914376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223">
            <a:extLst>
              <a:ext uri="{FF2B5EF4-FFF2-40B4-BE49-F238E27FC236}">
                <a16:creationId xmlns:a16="http://schemas.microsoft.com/office/drawing/2014/main" id="{FF6A0BD2-73C9-03F2-E537-58D0C3BFA8BE}"/>
              </a:ext>
            </a:extLst>
          </p:cNvPr>
          <p:cNvCxnSpPr>
            <a:cxnSpLocks/>
          </p:cNvCxnSpPr>
          <p:nvPr/>
        </p:nvCxnSpPr>
        <p:spPr>
          <a:xfrm rot="5400000">
            <a:off x="937844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224">
            <a:extLst>
              <a:ext uri="{FF2B5EF4-FFF2-40B4-BE49-F238E27FC236}">
                <a16:creationId xmlns:a16="http://schemas.microsoft.com/office/drawing/2014/main" id="{380368DB-614B-0BC6-BEF4-C33ACA271DD0}"/>
              </a:ext>
            </a:extLst>
          </p:cNvPr>
          <p:cNvCxnSpPr>
            <a:cxnSpLocks/>
          </p:cNvCxnSpPr>
          <p:nvPr/>
        </p:nvCxnSpPr>
        <p:spPr>
          <a:xfrm rot="5400000">
            <a:off x="961313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225">
            <a:extLst>
              <a:ext uri="{FF2B5EF4-FFF2-40B4-BE49-F238E27FC236}">
                <a16:creationId xmlns:a16="http://schemas.microsoft.com/office/drawing/2014/main" id="{EFD1A86C-CD4A-5589-0D4C-EB856650901B}"/>
              </a:ext>
            </a:extLst>
          </p:cNvPr>
          <p:cNvCxnSpPr>
            <a:cxnSpLocks/>
          </p:cNvCxnSpPr>
          <p:nvPr/>
        </p:nvCxnSpPr>
        <p:spPr>
          <a:xfrm rot="5400000">
            <a:off x="984781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226">
            <a:extLst>
              <a:ext uri="{FF2B5EF4-FFF2-40B4-BE49-F238E27FC236}">
                <a16:creationId xmlns:a16="http://schemas.microsoft.com/office/drawing/2014/main" id="{B69A96A9-099F-832D-ED0E-F8938462DB4A}"/>
              </a:ext>
            </a:extLst>
          </p:cNvPr>
          <p:cNvCxnSpPr>
            <a:cxnSpLocks/>
          </p:cNvCxnSpPr>
          <p:nvPr/>
        </p:nvCxnSpPr>
        <p:spPr>
          <a:xfrm rot="5400000">
            <a:off x="1008250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227">
            <a:extLst>
              <a:ext uri="{FF2B5EF4-FFF2-40B4-BE49-F238E27FC236}">
                <a16:creationId xmlns:a16="http://schemas.microsoft.com/office/drawing/2014/main" id="{774F5BDF-941F-0FB1-D755-EA78A6ED737F}"/>
              </a:ext>
            </a:extLst>
          </p:cNvPr>
          <p:cNvCxnSpPr>
            <a:cxnSpLocks/>
          </p:cNvCxnSpPr>
          <p:nvPr/>
        </p:nvCxnSpPr>
        <p:spPr>
          <a:xfrm rot="5400000">
            <a:off x="1031719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228">
            <a:extLst>
              <a:ext uri="{FF2B5EF4-FFF2-40B4-BE49-F238E27FC236}">
                <a16:creationId xmlns:a16="http://schemas.microsoft.com/office/drawing/2014/main" id="{8CF41D73-2C3A-8C07-9018-B1374B1215EE}"/>
              </a:ext>
            </a:extLst>
          </p:cNvPr>
          <p:cNvCxnSpPr>
            <a:cxnSpLocks/>
          </p:cNvCxnSpPr>
          <p:nvPr/>
        </p:nvCxnSpPr>
        <p:spPr>
          <a:xfrm rot="5400000">
            <a:off x="1055187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229">
            <a:extLst>
              <a:ext uri="{FF2B5EF4-FFF2-40B4-BE49-F238E27FC236}">
                <a16:creationId xmlns:a16="http://schemas.microsoft.com/office/drawing/2014/main" id="{B400E651-190D-AB01-91A3-614E5398A33E}"/>
              </a:ext>
            </a:extLst>
          </p:cNvPr>
          <p:cNvCxnSpPr>
            <a:cxnSpLocks/>
          </p:cNvCxnSpPr>
          <p:nvPr/>
        </p:nvCxnSpPr>
        <p:spPr>
          <a:xfrm rot="5400000">
            <a:off x="1078656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230">
            <a:extLst>
              <a:ext uri="{FF2B5EF4-FFF2-40B4-BE49-F238E27FC236}">
                <a16:creationId xmlns:a16="http://schemas.microsoft.com/office/drawing/2014/main" id="{1A17F629-AE32-5854-F6DF-0FA965CED858}"/>
              </a:ext>
            </a:extLst>
          </p:cNvPr>
          <p:cNvCxnSpPr>
            <a:cxnSpLocks/>
          </p:cNvCxnSpPr>
          <p:nvPr/>
        </p:nvCxnSpPr>
        <p:spPr>
          <a:xfrm rot="5400000">
            <a:off x="1102124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231">
            <a:extLst>
              <a:ext uri="{FF2B5EF4-FFF2-40B4-BE49-F238E27FC236}">
                <a16:creationId xmlns:a16="http://schemas.microsoft.com/office/drawing/2014/main" id="{E9F14D76-C04E-1187-6467-69D48E430740}"/>
              </a:ext>
            </a:extLst>
          </p:cNvPr>
          <p:cNvCxnSpPr>
            <a:cxnSpLocks/>
          </p:cNvCxnSpPr>
          <p:nvPr/>
        </p:nvCxnSpPr>
        <p:spPr>
          <a:xfrm rot="5400000">
            <a:off x="1125592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232">
            <a:extLst>
              <a:ext uri="{FF2B5EF4-FFF2-40B4-BE49-F238E27FC236}">
                <a16:creationId xmlns:a16="http://schemas.microsoft.com/office/drawing/2014/main" id="{71FDAB97-442F-AB2F-DFBD-8500B3D53D5C}"/>
              </a:ext>
            </a:extLst>
          </p:cNvPr>
          <p:cNvCxnSpPr/>
          <p:nvPr/>
        </p:nvCxnSpPr>
        <p:spPr>
          <a:xfrm>
            <a:off x="1292812" y="390373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33">
            <a:extLst>
              <a:ext uri="{FF2B5EF4-FFF2-40B4-BE49-F238E27FC236}">
                <a16:creationId xmlns:a16="http://schemas.microsoft.com/office/drawing/2014/main" id="{BF060107-DB8E-F1A4-9FAA-770B96BDCA8E}"/>
              </a:ext>
            </a:extLst>
          </p:cNvPr>
          <p:cNvCxnSpPr/>
          <p:nvPr/>
        </p:nvCxnSpPr>
        <p:spPr>
          <a:xfrm>
            <a:off x="1292812" y="344390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34">
            <a:extLst>
              <a:ext uri="{FF2B5EF4-FFF2-40B4-BE49-F238E27FC236}">
                <a16:creationId xmlns:a16="http://schemas.microsoft.com/office/drawing/2014/main" id="{3D02BBB4-7FFF-E3F6-D408-3B85E107DCCA}"/>
              </a:ext>
            </a:extLst>
          </p:cNvPr>
          <p:cNvCxnSpPr/>
          <p:nvPr/>
        </p:nvCxnSpPr>
        <p:spPr>
          <a:xfrm>
            <a:off x="1292812" y="298407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35">
            <a:extLst>
              <a:ext uri="{FF2B5EF4-FFF2-40B4-BE49-F238E27FC236}">
                <a16:creationId xmlns:a16="http://schemas.microsoft.com/office/drawing/2014/main" id="{1A7CBE38-ECD2-236C-EEE2-C01307B82721}"/>
              </a:ext>
            </a:extLst>
          </p:cNvPr>
          <p:cNvCxnSpPr/>
          <p:nvPr/>
        </p:nvCxnSpPr>
        <p:spPr>
          <a:xfrm>
            <a:off x="1292812" y="252424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39">
            <a:extLst>
              <a:ext uri="{FF2B5EF4-FFF2-40B4-BE49-F238E27FC236}">
                <a16:creationId xmlns:a16="http://schemas.microsoft.com/office/drawing/2014/main" id="{6C907DA0-CBCE-8738-80B5-CEBC654AFED9}"/>
              </a:ext>
            </a:extLst>
          </p:cNvPr>
          <p:cNvCxnSpPr/>
          <p:nvPr/>
        </p:nvCxnSpPr>
        <p:spPr>
          <a:xfrm>
            <a:off x="5885157" y="2063361"/>
            <a:ext cx="0" cy="2354400"/>
          </a:xfrm>
          <a:prstGeom prst="line">
            <a:avLst/>
          </a:prstGeom>
          <a:ln w="12700" cap="sq">
            <a:solidFill>
              <a:schemeClr val="tx1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40">
            <a:extLst>
              <a:ext uri="{FF2B5EF4-FFF2-40B4-BE49-F238E27FC236}">
                <a16:creationId xmlns:a16="http://schemas.microsoft.com/office/drawing/2014/main" id="{C5104769-6803-DB80-E2EA-5CA27D5EB88B}"/>
              </a:ext>
            </a:extLst>
          </p:cNvPr>
          <p:cNvCxnSpPr>
            <a:cxnSpLocks/>
          </p:cNvCxnSpPr>
          <p:nvPr/>
        </p:nvCxnSpPr>
        <p:spPr>
          <a:xfrm>
            <a:off x="4830908" y="3215393"/>
            <a:ext cx="0" cy="1202368"/>
          </a:xfrm>
          <a:prstGeom prst="line">
            <a:avLst/>
          </a:prstGeom>
          <a:ln w="12700" cap="sq">
            <a:solidFill>
              <a:schemeClr val="accent1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42">
            <a:extLst>
              <a:ext uri="{FF2B5EF4-FFF2-40B4-BE49-F238E27FC236}">
                <a16:creationId xmlns:a16="http://schemas.microsoft.com/office/drawing/2014/main" id="{736B5A3E-D9A3-808E-F658-37C07C38B07B}"/>
              </a:ext>
            </a:extLst>
          </p:cNvPr>
          <p:cNvCxnSpPr>
            <a:cxnSpLocks/>
          </p:cNvCxnSpPr>
          <p:nvPr/>
        </p:nvCxnSpPr>
        <p:spPr>
          <a:xfrm flipH="1">
            <a:off x="1346812" y="3210885"/>
            <a:ext cx="3484096" cy="0"/>
          </a:xfrm>
          <a:prstGeom prst="line">
            <a:avLst/>
          </a:prstGeom>
          <a:ln w="12700" cap="sq">
            <a:solidFill>
              <a:schemeClr val="accent1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43">
            <a:extLst>
              <a:ext uri="{FF2B5EF4-FFF2-40B4-BE49-F238E27FC236}">
                <a16:creationId xmlns:a16="http://schemas.microsoft.com/office/drawing/2014/main" id="{16D5BDDD-0E02-1D53-0A11-086039A86836}"/>
              </a:ext>
            </a:extLst>
          </p:cNvPr>
          <p:cNvCxnSpPr>
            <a:cxnSpLocks/>
          </p:cNvCxnSpPr>
          <p:nvPr/>
        </p:nvCxnSpPr>
        <p:spPr>
          <a:xfrm>
            <a:off x="10250637" y="3215393"/>
            <a:ext cx="0" cy="1202368"/>
          </a:xfrm>
          <a:prstGeom prst="line">
            <a:avLst/>
          </a:prstGeom>
          <a:ln w="12700" cap="sq">
            <a:solidFill>
              <a:schemeClr val="tx2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Freeform: Shape 34">
            <a:extLst>
              <a:ext uri="{FF2B5EF4-FFF2-40B4-BE49-F238E27FC236}">
                <a16:creationId xmlns:a16="http://schemas.microsoft.com/office/drawing/2014/main" id="{AFD6B770-3BE7-5EB1-77EA-4DB99BAF3EA2}"/>
              </a:ext>
            </a:extLst>
          </p:cNvPr>
          <p:cNvSpPr/>
          <p:nvPr/>
        </p:nvSpPr>
        <p:spPr bwMode="auto">
          <a:xfrm>
            <a:off x="1346812" y="2064410"/>
            <a:ext cx="10052793" cy="2353351"/>
          </a:xfrm>
          <a:custGeom>
            <a:avLst/>
            <a:gdLst>
              <a:gd name="connsiteX0" fmla="*/ 0 w 9953203"/>
              <a:gd name="connsiteY0" fmla="*/ 0 h 2362875"/>
              <a:gd name="connsiteX1" fmla="*/ 0 w 9953203"/>
              <a:gd name="connsiteY1" fmla="*/ 2362875 h 2362875"/>
              <a:gd name="connsiteX2" fmla="*/ 9953203 w 9953203"/>
              <a:gd name="connsiteY2" fmla="*/ 2362875 h 236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53203" h="2362875">
                <a:moveTo>
                  <a:pt x="0" y="0"/>
                </a:moveTo>
                <a:lnTo>
                  <a:pt x="0" y="2362875"/>
                </a:lnTo>
                <a:lnTo>
                  <a:pt x="9953203" y="2362875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cxnSp>
        <p:nvCxnSpPr>
          <p:cNvPr id="209" name="Straight Connector 245">
            <a:extLst>
              <a:ext uri="{FF2B5EF4-FFF2-40B4-BE49-F238E27FC236}">
                <a16:creationId xmlns:a16="http://schemas.microsoft.com/office/drawing/2014/main" id="{8799515C-CA85-AA87-EABF-1BECB243D2AE}"/>
              </a:ext>
            </a:extLst>
          </p:cNvPr>
          <p:cNvCxnSpPr>
            <a:cxnSpLocks/>
          </p:cNvCxnSpPr>
          <p:nvPr/>
        </p:nvCxnSpPr>
        <p:spPr>
          <a:xfrm flipH="1">
            <a:off x="4916584" y="3210885"/>
            <a:ext cx="5334053" cy="0"/>
          </a:xfrm>
          <a:prstGeom prst="line">
            <a:avLst/>
          </a:prstGeom>
          <a:ln w="12700" cap="sq">
            <a:solidFill>
              <a:schemeClr val="tx2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oup 742">
            <a:extLst>
              <a:ext uri="{FF2B5EF4-FFF2-40B4-BE49-F238E27FC236}">
                <a16:creationId xmlns:a16="http://schemas.microsoft.com/office/drawing/2014/main" id="{85FA6506-78D2-D8D0-0296-6D50D26855F7}"/>
              </a:ext>
            </a:extLst>
          </p:cNvPr>
          <p:cNvGrpSpPr/>
          <p:nvPr/>
        </p:nvGrpSpPr>
        <p:grpSpPr>
          <a:xfrm>
            <a:off x="1598567" y="2026313"/>
            <a:ext cx="9529808" cy="1946318"/>
            <a:chOff x="4329382" y="-2482792"/>
            <a:chExt cx="7298054" cy="1620773"/>
          </a:xfrm>
        </p:grpSpPr>
        <p:sp>
          <p:nvSpPr>
            <p:cNvPr id="211" name="Freeform: Shape 250">
              <a:extLst>
                <a:ext uri="{FF2B5EF4-FFF2-40B4-BE49-F238E27FC236}">
                  <a16:creationId xmlns:a16="http://schemas.microsoft.com/office/drawing/2014/main" id="{02116531-C1C7-4148-E6BC-822BDDBE6B16}"/>
                </a:ext>
              </a:extLst>
            </p:cNvPr>
            <p:cNvSpPr/>
            <p:nvPr/>
          </p:nvSpPr>
          <p:spPr>
            <a:xfrm>
              <a:off x="4465399" y="-2408497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2" name="Freeform: Shape 251">
              <a:extLst>
                <a:ext uri="{FF2B5EF4-FFF2-40B4-BE49-F238E27FC236}">
                  <a16:creationId xmlns:a16="http://schemas.microsoft.com/office/drawing/2014/main" id="{16D78C14-4F5E-2351-7D29-349E6D7E54DD}"/>
                </a:ext>
              </a:extLst>
            </p:cNvPr>
            <p:cNvSpPr/>
            <p:nvPr/>
          </p:nvSpPr>
          <p:spPr>
            <a:xfrm>
              <a:off x="4520263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3" name="Freeform: Shape 252">
              <a:extLst>
                <a:ext uri="{FF2B5EF4-FFF2-40B4-BE49-F238E27FC236}">
                  <a16:creationId xmlns:a16="http://schemas.microsoft.com/office/drawing/2014/main" id="{FF789B88-FFCA-AFF4-3D05-244BECFC3877}"/>
                </a:ext>
              </a:extLst>
            </p:cNvPr>
            <p:cNvSpPr/>
            <p:nvPr/>
          </p:nvSpPr>
          <p:spPr>
            <a:xfrm>
              <a:off x="4471114" y="-240849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4" name="Freeform: Shape 253">
              <a:extLst>
                <a:ext uri="{FF2B5EF4-FFF2-40B4-BE49-F238E27FC236}">
                  <a16:creationId xmlns:a16="http://schemas.microsoft.com/office/drawing/2014/main" id="{ADCD2645-D209-3639-8233-634F4B4333FF}"/>
                </a:ext>
              </a:extLst>
            </p:cNvPr>
            <p:cNvSpPr/>
            <p:nvPr/>
          </p:nvSpPr>
          <p:spPr>
            <a:xfrm>
              <a:off x="4527121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5" name="Freeform: Shape 254">
              <a:extLst>
                <a:ext uri="{FF2B5EF4-FFF2-40B4-BE49-F238E27FC236}">
                  <a16:creationId xmlns:a16="http://schemas.microsoft.com/office/drawing/2014/main" id="{FC4D01E2-B2A0-3040-6FDD-96CB62A030DA}"/>
                </a:ext>
              </a:extLst>
            </p:cNvPr>
            <p:cNvSpPr/>
            <p:nvPr/>
          </p:nvSpPr>
          <p:spPr>
            <a:xfrm>
              <a:off x="4488259" y="-240849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6" name="Freeform: Shape 255">
              <a:extLst>
                <a:ext uri="{FF2B5EF4-FFF2-40B4-BE49-F238E27FC236}">
                  <a16:creationId xmlns:a16="http://schemas.microsoft.com/office/drawing/2014/main" id="{61DBB8AA-12A4-0B5B-14F7-095D4BB58721}"/>
                </a:ext>
              </a:extLst>
            </p:cNvPr>
            <p:cNvSpPr/>
            <p:nvPr/>
          </p:nvSpPr>
          <p:spPr>
            <a:xfrm>
              <a:off x="4544266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7" name="Freeform: Shape 256">
              <a:extLst>
                <a:ext uri="{FF2B5EF4-FFF2-40B4-BE49-F238E27FC236}">
                  <a16:creationId xmlns:a16="http://schemas.microsoft.com/office/drawing/2014/main" id="{444560CB-56F1-DACC-B8AF-26044BB853A6}"/>
                </a:ext>
              </a:extLst>
            </p:cNvPr>
            <p:cNvSpPr/>
            <p:nvPr/>
          </p:nvSpPr>
          <p:spPr>
            <a:xfrm>
              <a:off x="4493974" y="-240849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8" name="Freeform: Shape 257">
              <a:extLst>
                <a:ext uri="{FF2B5EF4-FFF2-40B4-BE49-F238E27FC236}">
                  <a16:creationId xmlns:a16="http://schemas.microsoft.com/office/drawing/2014/main" id="{49B7407E-60F4-381E-0F11-128125CD36D7}"/>
                </a:ext>
              </a:extLst>
            </p:cNvPr>
            <p:cNvSpPr/>
            <p:nvPr/>
          </p:nvSpPr>
          <p:spPr>
            <a:xfrm>
              <a:off x="4549981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9" name="Freeform: Shape 258">
              <a:extLst>
                <a:ext uri="{FF2B5EF4-FFF2-40B4-BE49-F238E27FC236}">
                  <a16:creationId xmlns:a16="http://schemas.microsoft.com/office/drawing/2014/main" id="{23DE60C7-E747-4373-FA6C-04B3E0BD5E60}"/>
                </a:ext>
              </a:extLst>
            </p:cNvPr>
            <p:cNvSpPr/>
            <p:nvPr/>
          </p:nvSpPr>
          <p:spPr>
            <a:xfrm>
              <a:off x="4577413" y="-236849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0" name="Freeform: Shape 259">
              <a:extLst>
                <a:ext uri="{FF2B5EF4-FFF2-40B4-BE49-F238E27FC236}">
                  <a16:creationId xmlns:a16="http://schemas.microsoft.com/office/drawing/2014/main" id="{C3A5F000-0D37-DB6E-8117-760245E7D570}"/>
                </a:ext>
              </a:extLst>
            </p:cNvPr>
            <p:cNvSpPr/>
            <p:nvPr/>
          </p:nvSpPr>
          <p:spPr>
            <a:xfrm>
              <a:off x="4633420" y="-240278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1" name="Freeform: Shape 260">
              <a:extLst>
                <a:ext uri="{FF2B5EF4-FFF2-40B4-BE49-F238E27FC236}">
                  <a16:creationId xmlns:a16="http://schemas.microsoft.com/office/drawing/2014/main" id="{69F4AEE1-8E42-57FF-81BE-0DC78ABD5E64}"/>
                </a:ext>
              </a:extLst>
            </p:cNvPr>
            <p:cNvSpPr/>
            <p:nvPr/>
          </p:nvSpPr>
          <p:spPr>
            <a:xfrm>
              <a:off x="4671139" y="-23433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2" name="Freeform: Shape 261">
              <a:extLst>
                <a:ext uri="{FF2B5EF4-FFF2-40B4-BE49-F238E27FC236}">
                  <a16:creationId xmlns:a16="http://schemas.microsoft.com/office/drawing/2014/main" id="{3D52D005-BF0F-DA91-D3F9-54E6FC4D1B42}"/>
                </a:ext>
              </a:extLst>
            </p:cNvPr>
            <p:cNvSpPr/>
            <p:nvPr/>
          </p:nvSpPr>
          <p:spPr>
            <a:xfrm>
              <a:off x="4727146" y="-237877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3" name="Freeform: Shape 262">
              <a:extLst>
                <a:ext uri="{FF2B5EF4-FFF2-40B4-BE49-F238E27FC236}">
                  <a16:creationId xmlns:a16="http://schemas.microsoft.com/office/drawing/2014/main" id="{EEC39CE3-5494-2E8E-32BC-94BBE2EA0FE3}"/>
                </a:ext>
              </a:extLst>
            </p:cNvPr>
            <p:cNvSpPr/>
            <p:nvPr/>
          </p:nvSpPr>
          <p:spPr>
            <a:xfrm>
              <a:off x="4677997" y="-2343346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4" name="Freeform: Shape 263">
              <a:extLst>
                <a:ext uri="{FF2B5EF4-FFF2-40B4-BE49-F238E27FC236}">
                  <a16:creationId xmlns:a16="http://schemas.microsoft.com/office/drawing/2014/main" id="{58D0E450-41B5-6A74-A2E1-9F1880C5BCB3}"/>
                </a:ext>
              </a:extLst>
            </p:cNvPr>
            <p:cNvSpPr/>
            <p:nvPr/>
          </p:nvSpPr>
          <p:spPr>
            <a:xfrm>
              <a:off x="4734004" y="-237877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5" name="Freeform: Shape 264">
              <a:extLst>
                <a:ext uri="{FF2B5EF4-FFF2-40B4-BE49-F238E27FC236}">
                  <a16:creationId xmlns:a16="http://schemas.microsoft.com/office/drawing/2014/main" id="{CA04B3CB-7566-AF9C-C80A-C339A4CE249A}"/>
                </a:ext>
              </a:extLst>
            </p:cNvPr>
            <p:cNvSpPr/>
            <p:nvPr/>
          </p:nvSpPr>
          <p:spPr>
            <a:xfrm>
              <a:off x="4706572" y="-23353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6" name="Freeform: Shape 265">
              <a:extLst>
                <a:ext uri="{FF2B5EF4-FFF2-40B4-BE49-F238E27FC236}">
                  <a16:creationId xmlns:a16="http://schemas.microsoft.com/office/drawing/2014/main" id="{18885920-4559-14F1-683E-4AD03F5996CA}"/>
                </a:ext>
              </a:extLst>
            </p:cNvPr>
            <p:cNvSpPr/>
            <p:nvPr/>
          </p:nvSpPr>
          <p:spPr>
            <a:xfrm>
              <a:off x="4762579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7" name="Freeform: Shape 266">
              <a:extLst>
                <a:ext uri="{FF2B5EF4-FFF2-40B4-BE49-F238E27FC236}">
                  <a16:creationId xmlns:a16="http://schemas.microsoft.com/office/drawing/2014/main" id="{B2C2196A-48A1-7DA6-CA02-394677C2034C}"/>
                </a:ext>
              </a:extLst>
            </p:cNvPr>
            <p:cNvSpPr/>
            <p:nvPr/>
          </p:nvSpPr>
          <p:spPr>
            <a:xfrm>
              <a:off x="4719145" y="-23353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8" name="Freeform: Shape 267">
              <a:extLst>
                <a:ext uri="{FF2B5EF4-FFF2-40B4-BE49-F238E27FC236}">
                  <a16:creationId xmlns:a16="http://schemas.microsoft.com/office/drawing/2014/main" id="{44C91E0E-634C-FEE7-9893-54E718278699}"/>
                </a:ext>
              </a:extLst>
            </p:cNvPr>
            <p:cNvSpPr/>
            <p:nvPr/>
          </p:nvSpPr>
          <p:spPr>
            <a:xfrm>
              <a:off x="4775152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9" name="Freeform: Shape 268">
              <a:extLst>
                <a:ext uri="{FF2B5EF4-FFF2-40B4-BE49-F238E27FC236}">
                  <a16:creationId xmlns:a16="http://schemas.microsoft.com/office/drawing/2014/main" id="{BB1BC213-7B6D-89F3-6381-8246C396C4BB}"/>
                </a:ext>
              </a:extLst>
            </p:cNvPr>
            <p:cNvSpPr/>
            <p:nvPr/>
          </p:nvSpPr>
          <p:spPr>
            <a:xfrm>
              <a:off x="4784296" y="-2335345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0" name="Freeform: Shape 269">
              <a:extLst>
                <a:ext uri="{FF2B5EF4-FFF2-40B4-BE49-F238E27FC236}">
                  <a16:creationId xmlns:a16="http://schemas.microsoft.com/office/drawing/2014/main" id="{5BBFFA9D-FD9E-F50B-EEA2-E3F5D7816126}"/>
                </a:ext>
              </a:extLst>
            </p:cNvPr>
            <p:cNvSpPr/>
            <p:nvPr/>
          </p:nvSpPr>
          <p:spPr>
            <a:xfrm>
              <a:off x="4839160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1" name="Freeform: Shape 270">
              <a:extLst>
                <a:ext uri="{FF2B5EF4-FFF2-40B4-BE49-F238E27FC236}">
                  <a16:creationId xmlns:a16="http://schemas.microsoft.com/office/drawing/2014/main" id="{78F3D668-ED8D-B2BA-138D-6C13C062836E}"/>
                </a:ext>
              </a:extLst>
            </p:cNvPr>
            <p:cNvSpPr/>
            <p:nvPr/>
          </p:nvSpPr>
          <p:spPr>
            <a:xfrm>
              <a:off x="4784296" y="-2335345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2" name="Freeform: Shape 271">
              <a:extLst>
                <a:ext uri="{FF2B5EF4-FFF2-40B4-BE49-F238E27FC236}">
                  <a16:creationId xmlns:a16="http://schemas.microsoft.com/office/drawing/2014/main" id="{5D5947D3-AAD8-0199-C0BD-8EE87454F030}"/>
                </a:ext>
              </a:extLst>
            </p:cNvPr>
            <p:cNvSpPr/>
            <p:nvPr/>
          </p:nvSpPr>
          <p:spPr>
            <a:xfrm>
              <a:off x="4839160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3" name="Freeform: Shape 272">
              <a:extLst>
                <a:ext uri="{FF2B5EF4-FFF2-40B4-BE49-F238E27FC236}">
                  <a16:creationId xmlns:a16="http://schemas.microsoft.com/office/drawing/2014/main" id="{EF701C5C-DDEF-C7E5-6C2B-D934EE7767C4}"/>
                </a:ext>
              </a:extLst>
            </p:cNvPr>
            <p:cNvSpPr/>
            <p:nvPr/>
          </p:nvSpPr>
          <p:spPr>
            <a:xfrm>
              <a:off x="4814014" y="-2327344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4" name="Freeform: Shape 273">
              <a:extLst>
                <a:ext uri="{FF2B5EF4-FFF2-40B4-BE49-F238E27FC236}">
                  <a16:creationId xmlns:a16="http://schemas.microsoft.com/office/drawing/2014/main" id="{6B68DAEA-1BDD-9F5E-A230-99A9F67FA262}"/>
                </a:ext>
              </a:extLst>
            </p:cNvPr>
            <p:cNvSpPr/>
            <p:nvPr/>
          </p:nvSpPr>
          <p:spPr>
            <a:xfrm>
              <a:off x="4868878" y="-236163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5" name="Freeform: Shape 274">
              <a:extLst>
                <a:ext uri="{FF2B5EF4-FFF2-40B4-BE49-F238E27FC236}">
                  <a16:creationId xmlns:a16="http://schemas.microsoft.com/office/drawing/2014/main" id="{562874D0-A000-F5B1-01FA-8784CB352A5F}"/>
                </a:ext>
              </a:extLst>
            </p:cNvPr>
            <p:cNvSpPr/>
            <p:nvPr/>
          </p:nvSpPr>
          <p:spPr>
            <a:xfrm>
              <a:off x="4954603" y="-228505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6" name="Freeform: Shape 275">
              <a:extLst>
                <a:ext uri="{FF2B5EF4-FFF2-40B4-BE49-F238E27FC236}">
                  <a16:creationId xmlns:a16="http://schemas.microsoft.com/office/drawing/2014/main" id="{5E772FF9-5DDF-DBC2-FBFC-BC1862AD577D}"/>
                </a:ext>
              </a:extLst>
            </p:cNvPr>
            <p:cNvSpPr/>
            <p:nvPr/>
          </p:nvSpPr>
          <p:spPr>
            <a:xfrm>
              <a:off x="5010610" y="-231934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7" name="Freeform: Shape 276">
              <a:extLst>
                <a:ext uri="{FF2B5EF4-FFF2-40B4-BE49-F238E27FC236}">
                  <a16:creationId xmlns:a16="http://schemas.microsoft.com/office/drawing/2014/main" id="{9F873D32-3526-72FD-2E76-79B46AE68796}"/>
                </a:ext>
              </a:extLst>
            </p:cNvPr>
            <p:cNvSpPr/>
            <p:nvPr/>
          </p:nvSpPr>
          <p:spPr>
            <a:xfrm>
              <a:off x="4954603" y="-228505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8" name="Freeform: Shape 277">
              <a:extLst>
                <a:ext uri="{FF2B5EF4-FFF2-40B4-BE49-F238E27FC236}">
                  <a16:creationId xmlns:a16="http://schemas.microsoft.com/office/drawing/2014/main" id="{2AECD631-7D56-D035-37EF-A3E7A97825B1}"/>
                </a:ext>
              </a:extLst>
            </p:cNvPr>
            <p:cNvSpPr/>
            <p:nvPr/>
          </p:nvSpPr>
          <p:spPr>
            <a:xfrm>
              <a:off x="5010610" y="-231934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9" name="Freeform: Shape 278">
              <a:extLst>
                <a:ext uri="{FF2B5EF4-FFF2-40B4-BE49-F238E27FC236}">
                  <a16:creationId xmlns:a16="http://schemas.microsoft.com/office/drawing/2014/main" id="{3D6556E4-5D79-DA1A-C282-BC9186E6C455}"/>
                </a:ext>
              </a:extLst>
            </p:cNvPr>
            <p:cNvSpPr/>
            <p:nvPr/>
          </p:nvSpPr>
          <p:spPr>
            <a:xfrm>
              <a:off x="5084905" y="-227705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0" name="Freeform: Shape 279">
              <a:extLst>
                <a:ext uri="{FF2B5EF4-FFF2-40B4-BE49-F238E27FC236}">
                  <a16:creationId xmlns:a16="http://schemas.microsoft.com/office/drawing/2014/main" id="{3A7F1879-A915-8FB7-4A11-7B6EE6899CB7}"/>
                </a:ext>
              </a:extLst>
            </p:cNvPr>
            <p:cNvSpPr/>
            <p:nvPr/>
          </p:nvSpPr>
          <p:spPr>
            <a:xfrm>
              <a:off x="5140912" y="-231134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1" name="Freeform: Shape 280">
              <a:extLst>
                <a:ext uri="{FF2B5EF4-FFF2-40B4-BE49-F238E27FC236}">
                  <a16:creationId xmlns:a16="http://schemas.microsoft.com/office/drawing/2014/main" id="{8F600A4C-1BE2-77BD-3E05-00959981F631}"/>
                </a:ext>
              </a:extLst>
            </p:cNvPr>
            <p:cNvSpPr/>
            <p:nvPr/>
          </p:nvSpPr>
          <p:spPr>
            <a:xfrm>
              <a:off x="5297503" y="-222561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2" name="Freeform: Shape 281">
              <a:extLst>
                <a:ext uri="{FF2B5EF4-FFF2-40B4-BE49-F238E27FC236}">
                  <a16:creationId xmlns:a16="http://schemas.microsoft.com/office/drawing/2014/main" id="{B204E35E-602B-8598-71CB-88FA17FDE032}"/>
                </a:ext>
              </a:extLst>
            </p:cNvPr>
            <p:cNvSpPr/>
            <p:nvPr/>
          </p:nvSpPr>
          <p:spPr>
            <a:xfrm>
              <a:off x="5353510" y="-225990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3" name="Freeform: Shape 282">
              <a:extLst>
                <a:ext uri="{FF2B5EF4-FFF2-40B4-BE49-F238E27FC236}">
                  <a16:creationId xmlns:a16="http://schemas.microsoft.com/office/drawing/2014/main" id="{4EBCD35F-F6D6-3C60-D8B2-51F557511406}"/>
                </a:ext>
              </a:extLst>
            </p:cNvPr>
            <p:cNvSpPr/>
            <p:nvPr/>
          </p:nvSpPr>
          <p:spPr>
            <a:xfrm>
              <a:off x="5321506" y="-222561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4" name="Freeform: Shape 283">
              <a:extLst>
                <a:ext uri="{FF2B5EF4-FFF2-40B4-BE49-F238E27FC236}">
                  <a16:creationId xmlns:a16="http://schemas.microsoft.com/office/drawing/2014/main" id="{59FB60C0-4820-2DBD-8A26-B4FA4399F7EC}"/>
                </a:ext>
              </a:extLst>
            </p:cNvPr>
            <p:cNvSpPr/>
            <p:nvPr/>
          </p:nvSpPr>
          <p:spPr>
            <a:xfrm>
              <a:off x="5377513" y="-225990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5" name="Freeform: Shape 284">
              <a:extLst>
                <a:ext uri="{FF2B5EF4-FFF2-40B4-BE49-F238E27FC236}">
                  <a16:creationId xmlns:a16="http://schemas.microsoft.com/office/drawing/2014/main" id="{B94FF247-6F2C-C802-4AEF-EC18DFDB9A3F}"/>
                </a:ext>
              </a:extLst>
            </p:cNvPr>
            <p:cNvSpPr/>
            <p:nvPr/>
          </p:nvSpPr>
          <p:spPr>
            <a:xfrm>
              <a:off x="5338651" y="-221647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6" name="Freeform: Shape 285">
              <a:extLst>
                <a:ext uri="{FF2B5EF4-FFF2-40B4-BE49-F238E27FC236}">
                  <a16:creationId xmlns:a16="http://schemas.microsoft.com/office/drawing/2014/main" id="{D2071B40-17A9-157A-83CD-66CC4F9BC097}"/>
                </a:ext>
              </a:extLst>
            </p:cNvPr>
            <p:cNvSpPr/>
            <p:nvPr/>
          </p:nvSpPr>
          <p:spPr>
            <a:xfrm>
              <a:off x="5394658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7" name="Freeform: Shape 286">
              <a:extLst>
                <a:ext uri="{FF2B5EF4-FFF2-40B4-BE49-F238E27FC236}">
                  <a16:creationId xmlns:a16="http://schemas.microsoft.com/office/drawing/2014/main" id="{935B1A2E-0A49-A96A-E6BA-44EA1C92190E}"/>
                </a:ext>
              </a:extLst>
            </p:cNvPr>
            <p:cNvSpPr/>
            <p:nvPr/>
          </p:nvSpPr>
          <p:spPr>
            <a:xfrm>
              <a:off x="5344366" y="-2216473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8" name="Freeform: Shape 287">
              <a:extLst>
                <a:ext uri="{FF2B5EF4-FFF2-40B4-BE49-F238E27FC236}">
                  <a16:creationId xmlns:a16="http://schemas.microsoft.com/office/drawing/2014/main" id="{C8E93078-047F-51DC-095E-77BC89F746AB}"/>
                </a:ext>
              </a:extLst>
            </p:cNvPr>
            <p:cNvSpPr/>
            <p:nvPr/>
          </p:nvSpPr>
          <p:spPr>
            <a:xfrm>
              <a:off x="5400373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9" name="Freeform: Shape 288">
              <a:extLst>
                <a:ext uri="{FF2B5EF4-FFF2-40B4-BE49-F238E27FC236}">
                  <a16:creationId xmlns:a16="http://schemas.microsoft.com/office/drawing/2014/main" id="{A6F52B7E-9592-6925-EFC5-EA84A716FBC5}"/>
                </a:ext>
              </a:extLst>
            </p:cNvPr>
            <p:cNvSpPr/>
            <p:nvPr/>
          </p:nvSpPr>
          <p:spPr>
            <a:xfrm>
              <a:off x="5344366" y="-2216473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0" name="Freeform: Shape 289">
              <a:extLst>
                <a:ext uri="{FF2B5EF4-FFF2-40B4-BE49-F238E27FC236}">
                  <a16:creationId xmlns:a16="http://schemas.microsoft.com/office/drawing/2014/main" id="{1E006A14-3AD0-6AC4-6FAB-0BEC6767E235}"/>
                </a:ext>
              </a:extLst>
            </p:cNvPr>
            <p:cNvSpPr/>
            <p:nvPr/>
          </p:nvSpPr>
          <p:spPr>
            <a:xfrm>
              <a:off x="5400373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1" name="Freeform: Shape 290">
              <a:extLst>
                <a:ext uri="{FF2B5EF4-FFF2-40B4-BE49-F238E27FC236}">
                  <a16:creationId xmlns:a16="http://schemas.microsoft.com/office/drawing/2014/main" id="{C4892E8D-9FE6-DCFE-4B44-9AE24519F8EE}"/>
                </a:ext>
              </a:extLst>
            </p:cNvPr>
            <p:cNvSpPr/>
            <p:nvPr/>
          </p:nvSpPr>
          <p:spPr>
            <a:xfrm>
              <a:off x="5403802" y="-221647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2" name="Freeform: Shape 291">
              <a:extLst>
                <a:ext uri="{FF2B5EF4-FFF2-40B4-BE49-F238E27FC236}">
                  <a16:creationId xmlns:a16="http://schemas.microsoft.com/office/drawing/2014/main" id="{0F27EEB5-5428-9CEC-D9BA-7F0101087296}"/>
                </a:ext>
              </a:extLst>
            </p:cNvPr>
            <p:cNvSpPr/>
            <p:nvPr/>
          </p:nvSpPr>
          <p:spPr>
            <a:xfrm>
              <a:off x="5459809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3" name="Freeform: Shape 292">
              <a:extLst>
                <a:ext uri="{FF2B5EF4-FFF2-40B4-BE49-F238E27FC236}">
                  <a16:creationId xmlns:a16="http://schemas.microsoft.com/office/drawing/2014/main" id="{6E41C243-E2B0-57C9-DD6D-21A18327E1C8}"/>
                </a:ext>
              </a:extLst>
            </p:cNvPr>
            <p:cNvSpPr/>
            <p:nvPr/>
          </p:nvSpPr>
          <p:spPr>
            <a:xfrm>
              <a:off x="5444950" y="-220847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4" name="Freeform: Shape 293">
              <a:extLst>
                <a:ext uri="{FF2B5EF4-FFF2-40B4-BE49-F238E27FC236}">
                  <a16:creationId xmlns:a16="http://schemas.microsoft.com/office/drawing/2014/main" id="{DC00B49D-0CE1-5550-CBBE-01D970CCA81F}"/>
                </a:ext>
              </a:extLst>
            </p:cNvPr>
            <p:cNvSpPr/>
            <p:nvPr/>
          </p:nvSpPr>
          <p:spPr>
            <a:xfrm>
              <a:off x="5500957" y="-224276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5" name="Freeform: Shape 294">
              <a:extLst>
                <a:ext uri="{FF2B5EF4-FFF2-40B4-BE49-F238E27FC236}">
                  <a16:creationId xmlns:a16="http://schemas.microsoft.com/office/drawing/2014/main" id="{1C81F63D-F465-FA88-C514-9C5E4AA20595}"/>
                </a:ext>
              </a:extLst>
            </p:cNvPr>
            <p:cNvSpPr/>
            <p:nvPr/>
          </p:nvSpPr>
          <p:spPr>
            <a:xfrm>
              <a:off x="5444950" y="-220847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6" name="Freeform: Shape 295">
              <a:extLst>
                <a:ext uri="{FF2B5EF4-FFF2-40B4-BE49-F238E27FC236}">
                  <a16:creationId xmlns:a16="http://schemas.microsoft.com/office/drawing/2014/main" id="{756DE526-F7CC-E956-7E1D-AC3F9739DBA8}"/>
                </a:ext>
              </a:extLst>
            </p:cNvPr>
            <p:cNvSpPr/>
            <p:nvPr/>
          </p:nvSpPr>
          <p:spPr>
            <a:xfrm>
              <a:off x="5500957" y="-224276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7" name="Freeform: Shape 296">
              <a:extLst>
                <a:ext uri="{FF2B5EF4-FFF2-40B4-BE49-F238E27FC236}">
                  <a16:creationId xmlns:a16="http://schemas.microsoft.com/office/drawing/2014/main" id="{3941A28E-0679-1C92-DA02-9B433B01CD2D}"/>
                </a:ext>
              </a:extLst>
            </p:cNvPr>
            <p:cNvSpPr/>
            <p:nvPr/>
          </p:nvSpPr>
          <p:spPr>
            <a:xfrm>
              <a:off x="5463238" y="-219932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8" name="Freeform: Shape 297">
              <a:extLst>
                <a:ext uri="{FF2B5EF4-FFF2-40B4-BE49-F238E27FC236}">
                  <a16:creationId xmlns:a16="http://schemas.microsoft.com/office/drawing/2014/main" id="{4DA3A585-FC04-B522-7F79-08CB5FB81C3F}"/>
                </a:ext>
              </a:extLst>
            </p:cNvPr>
            <p:cNvSpPr/>
            <p:nvPr/>
          </p:nvSpPr>
          <p:spPr>
            <a:xfrm>
              <a:off x="5519245" y="-223361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9" name="Freeform: Shape 298">
              <a:extLst>
                <a:ext uri="{FF2B5EF4-FFF2-40B4-BE49-F238E27FC236}">
                  <a16:creationId xmlns:a16="http://schemas.microsoft.com/office/drawing/2014/main" id="{6C8D49FE-160B-3DC8-D6D3-7917EEC127D9}"/>
                </a:ext>
              </a:extLst>
            </p:cNvPr>
            <p:cNvSpPr/>
            <p:nvPr/>
          </p:nvSpPr>
          <p:spPr>
            <a:xfrm>
              <a:off x="5480383" y="-219932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0" name="Freeform: Shape 299">
              <a:extLst>
                <a:ext uri="{FF2B5EF4-FFF2-40B4-BE49-F238E27FC236}">
                  <a16:creationId xmlns:a16="http://schemas.microsoft.com/office/drawing/2014/main" id="{B6DB63CE-3EFF-4EFD-D849-0A12EA09DCAE}"/>
                </a:ext>
              </a:extLst>
            </p:cNvPr>
            <p:cNvSpPr/>
            <p:nvPr/>
          </p:nvSpPr>
          <p:spPr>
            <a:xfrm>
              <a:off x="5536390" y="-223361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1" name="Freeform: Shape 300">
              <a:extLst>
                <a:ext uri="{FF2B5EF4-FFF2-40B4-BE49-F238E27FC236}">
                  <a16:creationId xmlns:a16="http://schemas.microsoft.com/office/drawing/2014/main" id="{DFBBE94C-3983-B7E3-9679-9A88CAB376A6}"/>
                </a:ext>
              </a:extLst>
            </p:cNvPr>
            <p:cNvSpPr/>
            <p:nvPr/>
          </p:nvSpPr>
          <p:spPr>
            <a:xfrm>
              <a:off x="5586682" y="-21718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2" name="Freeform: Shape 301">
              <a:extLst>
                <a:ext uri="{FF2B5EF4-FFF2-40B4-BE49-F238E27FC236}">
                  <a16:creationId xmlns:a16="http://schemas.microsoft.com/office/drawing/2014/main" id="{B932E178-B16F-5086-7F64-49230B3A8DCF}"/>
                </a:ext>
              </a:extLst>
            </p:cNvPr>
            <p:cNvSpPr/>
            <p:nvPr/>
          </p:nvSpPr>
          <p:spPr>
            <a:xfrm>
              <a:off x="5642689" y="-220732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3" name="Freeform: Shape 302">
              <a:extLst>
                <a:ext uri="{FF2B5EF4-FFF2-40B4-BE49-F238E27FC236}">
                  <a16:creationId xmlns:a16="http://schemas.microsoft.com/office/drawing/2014/main" id="{51EA08E9-BB35-1E41-3D4E-2C0C2ABCFE7D}"/>
                </a:ext>
              </a:extLst>
            </p:cNvPr>
            <p:cNvSpPr/>
            <p:nvPr/>
          </p:nvSpPr>
          <p:spPr>
            <a:xfrm>
              <a:off x="5670121" y="-2171896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4" name="Freeform: Shape 303">
              <a:extLst>
                <a:ext uri="{FF2B5EF4-FFF2-40B4-BE49-F238E27FC236}">
                  <a16:creationId xmlns:a16="http://schemas.microsoft.com/office/drawing/2014/main" id="{2218EAAC-4D81-CC76-BC5E-BF90EB89B96F}"/>
                </a:ext>
              </a:extLst>
            </p:cNvPr>
            <p:cNvSpPr/>
            <p:nvPr/>
          </p:nvSpPr>
          <p:spPr>
            <a:xfrm>
              <a:off x="5726128" y="-220732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5" name="Freeform: Shape 304">
              <a:extLst>
                <a:ext uri="{FF2B5EF4-FFF2-40B4-BE49-F238E27FC236}">
                  <a16:creationId xmlns:a16="http://schemas.microsoft.com/office/drawing/2014/main" id="{A857E7C4-771A-3A38-4E3D-49EDA880774D}"/>
                </a:ext>
              </a:extLst>
            </p:cNvPr>
            <p:cNvSpPr/>
            <p:nvPr/>
          </p:nvSpPr>
          <p:spPr>
            <a:xfrm>
              <a:off x="5687266" y="-21718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6" name="Freeform: Shape 305">
              <a:extLst>
                <a:ext uri="{FF2B5EF4-FFF2-40B4-BE49-F238E27FC236}">
                  <a16:creationId xmlns:a16="http://schemas.microsoft.com/office/drawing/2014/main" id="{3F0CFE61-8C25-C5C0-E20B-DE354A8D1590}"/>
                </a:ext>
              </a:extLst>
            </p:cNvPr>
            <p:cNvSpPr/>
            <p:nvPr/>
          </p:nvSpPr>
          <p:spPr>
            <a:xfrm>
              <a:off x="5743273" y="-220732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7" name="Freeform: Shape 306">
              <a:extLst>
                <a:ext uri="{FF2B5EF4-FFF2-40B4-BE49-F238E27FC236}">
                  <a16:creationId xmlns:a16="http://schemas.microsoft.com/office/drawing/2014/main" id="{17AE9B6D-4328-BA96-C7FD-B8AA39E466D7}"/>
                </a:ext>
              </a:extLst>
            </p:cNvPr>
            <p:cNvSpPr/>
            <p:nvPr/>
          </p:nvSpPr>
          <p:spPr>
            <a:xfrm>
              <a:off x="5698696" y="-216275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8" name="Freeform: Shape 307">
              <a:extLst>
                <a:ext uri="{FF2B5EF4-FFF2-40B4-BE49-F238E27FC236}">
                  <a16:creationId xmlns:a16="http://schemas.microsoft.com/office/drawing/2014/main" id="{08521754-ACBC-4260-5E58-ECD5BA856B62}"/>
                </a:ext>
              </a:extLst>
            </p:cNvPr>
            <p:cNvSpPr/>
            <p:nvPr/>
          </p:nvSpPr>
          <p:spPr>
            <a:xfrm>
              <a:off x="5754703" y="-219818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9" name="Freeform: Shape 308">
              <a:extLst>
                <a:ext uri="{FF2B5EF4-FFF2-40B4-BE49-F238E27FC236}">
                  <a16:creationId xmlns:a16="http://schemas.microsoft.com/office/drawing/2014/main" id="{E281F4F5-44D6-956F-9EEB-920C3E19F767}"/>
                </a:ext>
              </a:extLst>
            </p:cNvPr>
            <p:cNvSpPr/>
            <p:nvPr/>
          </p:nvSpPr>
          <p:spPr>
            <a:xfrm>
              <a:off x="5935297" y="-211703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0" name="Freeform: Shape 309">
              <a:extLst>
                <a:ext uri="{FF2B5EF4-FFF2-40B4-BE49-F238E27FC236}">
                  <a16:creationId xmlns:a16="http://schemas.microsoft.com/office/drawing/2014/main" id="{1CB3BF97-E27D-FDD8-AE21-3F366525B2AC}"/>
                </a:ext>
              </a:extLst>
            </p:cNvPr>
            <p:cNvSpPr/>
            <p:nvPr/>
          </p:nvSpPr>
          <p:spPr>
            <a:xfrm>
              <a:off x="5991304" y="-215246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1" name="Freeform: Shape 310">
              <a:extLst>
                <a:ext uri="{FF2B5EF4-FFF2-40B4-BE49-F238E27FC236}">
                  <a16:creationId xmlns:a16="http://schemas.microsoft.com/office/drawing/2014/main" id="{2606124C-243B-8908-E70E-2CFDE23689F5}"/>
                </a:ext>
              </a:extLst>
            </p:cNvPr>
            <p:cNvSpPr/>
            <p:nvPr/>
          </p:nvSpPr>
          <p:spPr>
            <a:xfrm>
              <a:off x="6017593" y="-209874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2" name="Freeform: Shape 311">
              <a:extLst>
                <a:ext uri="{FF2B5EF4-FFF2-40B4-BE49-F238E27FC236}">
                  <a16:creationId xmlns:a16="http://schemas.microsoft.com/office/drawing/2014/main" id="{A73C45B7-FA22-2651-C9F1-B0DC46643CFE}"/>
                </a:ext>
              </a:extLst>
            </p:cNvPr>
            <p:cNvSpPr/>
            <p:nvPr/>
          </p:nvSpPr>
          <p:spPr>
            <a:xfrm>
              <a:off x="6073600" y="-213303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3" name="Freeform: Shape 312">
              <a:extLst>
                <a:ext uri="{FF2B5EF4-FFF2-40B4-BE49-F238E27FC236}">
                  <a16:creationId xmlns:a16="http://schemas.microsoft.com/office/drawing/2014/main" id="{D0182FF0-0B3A-117A-F6CA-070ECDE1E1A9}"/>
                </a:ext>
              </a:extLst>
            </p:cNvPr>
            <p:cNvSpPr/>
            <p:nvPr/>
          </p:nvSpPr>
          <p:spPr>
            <a:xfrm>
              <a:off x="6118177" y="-206102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4" name="Freeform: Shape 313">
              <a:extLst>
                <a:ext uri="{FF2B5EF4-FFF2-40B4-BE49-F238E27FC236}">
                  <a16:creationId xmlns:a16="http://schemas.microsoft.com/office/drawing/2014/main" id="{251A2B08-C393-4B1C-C0D6-9C5D6C0B4584}"/>
                </a:ext>
              </a:extLst>
            </p:cNvPr>
            <p:cNvSpPr/>
            <p:nvPr/>
          </p:nvSpPr>
          <p:spPr>
            <a:xfrm>
              <a:off x="6174184" y="-209645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5" name="Freeform: Shape 314">
              <a:extLst>
                <a:ext uri="{FF2B5EF4-FFF2-40B4-BE49-F238E27FC236}">
                  <a16:creationId xmlns:a16="http://schemas.microsoft.com/office/drawing/2014/main" id="{0CA683BD-0A77-E57E-7B07-6DAA94D2D530}"/>
                </a:ext>
              </a:extLst>
            </p:cNvPr>
            <p:cNvSpPr/>
            <p:nvPr/>
          </p:nvSpPr>
          <p:spPr>
            <a:xfrm>
              <a:off x="6123892" y="-206102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6" name="Freeform: Shape 315">
              <a:extLst>
                <a:ext uri="{FF2B5EF4-FFF2-40B4-BE49-F238E27FC236}">
                  <a16:creationId xmlns:a16="http://schemas.microsoft.com/office/drawing/2014/main" id="{B9F6A1D2-B53E-2A1F-9183-B37F259100D3}"/>
                </a:ext>
              </a:extLst>
            </p:cNvPr>
            <p:cNvSpPr/>
            <p:nvPr/>
          </p:nvSpPr>
          <p:spPr>
            <a:xfrm>
              <a:off x="6179899" y="-209645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7" name="Freeform: Shape 316">
              <a:extLst>
                <a:ext uri="{FF2B5EF4-FFF2-40B4-BE49-F238E27FC236}">
                  <a16:creationId xmlns:a16="http://schemas.microsoft.com/office/drawing/2014/main" id="{A0BC84F6-1B6B-5BCA-56A8-7A3C91E913BD}"/>
                </a:ext>
              </a:extLst>
            </p:cNvPr>
            <p:cNvSpPr/>
            <p:nvPr/>
          </p:nvSpPr>
          <p:spPr>
            <a:xfrm>
              <a:off x="6194758" y="-20518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8" name="Freeform: Shape 317">
              <a:extLst>
                <a:ext uri="{FF2B5EF4-FFF2-40B4-BE49-F238E27FC236}">
                  <a16:creationId xmlns:a16="http://schemas.microsoft.com/office/drawing/2014/main" id="{94706F18-9598-245A-B14C-E8C3413DFA23}"/>
                </a:ext>
              </a:extLst>
            </p:cNvPr>
            <p:cNvSpPr/>
            <p:nvPr/>
          </p:nvSpPr>
          <p:spPr>
            <a:xfrm>
              <a:off x="6250765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9" name="Freeform: Shape 318">
              <a:extLst>
                <a:ext uri="{FF2B5EF4-FFF2-40B4-BE49-F238E27FC236}">
                  <a16:creationId xmlns:a16="http://schemas.microsoft.com/office/drawing/2014/main" id="{A037DA24-4DF2-2D21-BF32-C41CD79575CE}"/>
                </a:ext>
              </a:extLst>
            </p:cNvPr>
            <p:cNvSpPr/>
            <p:nvPr/>
          </p:nvSpPr>
          <p:spPr>
            <a:xfrm>
              <a:off x="6230191" y="-20518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0" name="Freeform: Shape 319">
              <a:extLst>
                <a:ext uri="{FF2B5EF4-FFF2-40B4-BE49-F238E27FC236}">
                  <a16:creationId xmlns:a16="http://schemas.microsoft.com/office/drawing/2014/main" id="{FB86323E-2FF8-773F-80C1-8220A6539E48}"/>
                </a:ext>
              </a:extLst>
            </p:cNvPr>
            <p:cNvSpPr/>
            <p:nvPr/>
          </p:nvSpPr>
          <p:spPr>
            <a:xfrm>
              <a:off x="6286198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1" name="Freeform: Shape 320">
              <a:extLst>
                <a:ext uri="{FF2B5EF4-FFF2-40B4-BE49-F238E27FC236}">
                  <a16:creationId xmlns:a16="http://schemas.microsoft.com/office/drawing/2014/main" id="{D7D02E7A-61E4-490F-64C9-9087B3E7DAD9}"/>
                </a:ext>
              </a:extLst>
            </p:cNvPr>
            <p:cNvSpPr/>
            <p:nvPr/>
          </p:nvSpPr>
          <p:spPr>
            <a:xfrm>
              <a:off x="6289627" y="-20518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2" name="Freeform: Shape 321">
              <a:extLst>
                <a:ext uri="{FF2B5EF4-FFF2-40B4-BE49-F238E27FC236}">
                  <a16:creationId xmlns:a16="http://schemas.microsoft.com/office/drawing/2014/main" id="{5161F901-ABF5-5248-6FD4-23E018C47B5A}"/>
                </a:ext>
              </a:extLst>
            </p:cNvPr>
            <p:cNvSpPr/>
            <p:nvPr/>
          </p:nvSpPr>
          <p:spPr>
            <a:xfrm>
              <a:off x="6345634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3" name="Freeform: Shape 322">
              <a:extLst>
                <a:ext uri="{FF2B5EF4-FFF2-40B4-BE49-F238E27FC236}">
                  <a16:creationId xmlns:a16="http://schemas.microsoft.com/office/drawing/2014/main" id="{1DC4D687-ACFD-A1A3-29E0-565428990949}"/>
                </a:ext>
              </a:extLst>
            </p:cNvPr>
            <p:cNvSpPr/>
            <p:nvPr/>
          </p:nvSpPr>
          <p:spPr>
            <a:xfrm>
              <a:off x="6349063" y="-2051881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4" name="Freeform: Shape 323">
              <a:extLst>
                <a:ext uri="{FF2B5EF4-FFF2-40B4-BE49-F238E27FC236}">
                  <a16:creationId xmlns:a16="http://schemas.microsoft.com/office/drawing/2014/main" id="{5B70D3E8-58B4-44EE-71D2-53AAEA6EF0BD}"/>
                </a:ext>
              </a:extLst>
            </p:cNvPr>
            <p:cNvSpPr/>
            <p:nvPr/>
          </p:nvSpPr>
          <p:spPr>
            <a:xfrm>
              <a:off x="6405070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5" name="Freeform: Shape 324">
              <a:extLst>
                <a:ext uri="{FF2B5EF4-FFF2-40B4-BE49-F238E27FC236}">
                  <a16:creationId xmlns:a16="http://schemas.microsoft.com/office/drawing/2014/main" id="{78C3184A-22C9-936D-E188-C321221835F4}"/>
                </a:ext>
              </a:extLst>
            </p:cNvPr>
            <p:cNvSpPr/>
            <p:nvPr/>
          </p:nvSpPr>
          <p:spPr>
            <a:xfrm>
              <a:off x="6543373" y="-203245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6" name="Freeform: Shape 325">
              <a:extLst>
                <a:ext uri="{FF2B5EF4-FFF2-40B4-BE49-F238E27FC236}">
                  <a16:creationId xmlns:a16="http://schemas.microsoft.com/office/drawing/2014/main" id="{A4909BA2-BD67-5B07-23CE-13839E0928AA}"/>
                </a:ext>
              </a:extLst>
            </p:cNvPr>
            <p:cNvSpPr/>
            <p:nvPr/>
          </p:nvSpPr>
          <p:spPr>
            <a:xfrm>
              <a:off x="6599380" y="-206788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7" name="Freeform: Shape 326">
              <a:extLst>
                <a:ext uri="{FF2B5EF4-FFF2-40B4-BE49-F238E27FC236}">
                  <a16:creationId xmlns:a16="http://schemas.microsoft.com/office/drawing/2014/main" id="{4A0C095C-55EA-9B54-F748-F9944D699D00}"/>
                </a:ext>
              </a:extLst>
            </p:cNvPr>
            <p:cNvSpPr/>
            <p:nvPr/>
          </p:nvSpPr>
          <p:spPr>
            <a:xfrm>
              <a:off x="6591379" y="-2013019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8" name="Freeform: Shape 327">
              <a:extLst>
                <a:ext uri="{FF2B5EF4-FFF2-40B4-BE49-F238E27FC236}">
                  <a16:creationId xmlns:a16="http://schemas.microsoft.com/office/drawing/2014/main" id="{889F4674-FF8C-ED0C-791F-93B1221CE901}"/>
                </a:ext>
              </a:extLst>
            </p:cNvPr>
            <p:cNvSpPr/>
            <p:nvPr/>
          </p:nvSpPr>
          <p:spPr>
            <a:xfrm>
              <a:off x="6646243" y="-204845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9" name="Freeform: Shape 328">
              <a:extLst>
                <a:ext uri="{FF2B5EF4-FFF2-40B4-BE49-F238E27FC236}">
                  <a16:creationId xmlns:a16="http://schemas.microsoft.com/office/drawing/2014/main" id="{E2631623-BD3A-3546-9047-116E7EFCFA9D}"/>
                </a:ext>
              </a:extLst>
            </p:cNvPr>
            <p:cNvSpPr/>
            <p:nvPr/>
          </p:nvSpPr>
          <p:spPr>
            <a:xfrm>
              <a:off x="6690820" y="-199358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0" name="Freeform: Shape 329">
              <a:extLst>
                <a:ext uri="{FF2B5EF4-FFF2-40B4-BE49-F238E27FC236}">
                  <a16:creationId xmlns:a16="http://schemas.microsoft.com/office/drawing/2014/main" id="{615B5EBA-30DA-5E3C-7063-5F701BE889D3}"/>
                </a:ext>
              </a:extLst>
            </p:cNvPr>
            <p:cNvSpPr/>
            <p:nvPr/>
          </p:nvSpPr>
          <p:spPr>
            <a:xfrm>
              <a:off x="6746827" y="-202902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1" name="Freeform: Shape 330">
              <a:extLst>
                <a:ext uri="{FF2B5EF4-FFF2-40B4-BE49-F238E27FC236}">
                  <a16:creationId xmlns:a16="http://schemas.microsoft.com/office/drawing/2014/main" id="{1646D748-30E6-D946-0ECA-4FB9D7C79B2A}"/>
                </a:ext>
              </a:extLst>
            </p:cNvPr>
            <p:cNvSpPr/>
            <p:nvPr/>
          </p:nvSpPr>
          <p:spPr>
            <a:xfrm>
              <a:off x="6850840" y="-198444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2" name="Freeform: Shape 331">
              <a:extLst>
                <a:ext uri="{FF2B5EF4-FFF2-40B4-BE49-F238E27FC236}">
                  <a16:creationId xmlns:a16="http://schemas.microsoft.com/office/drawing/2014/main" id="{DF0AB689-CEF2-764C-28C8-CC9DB926E18F}"/>
                </a:ext>
              </a:extLst>
            </p:cNvPr>
            <p:cNvSpPr/>
            <p:nvPr/>
          </p:nvSpPr>
          <p:spPr>
            <a:xfrm>
              <a:off x="6906847" y="-201873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3" name="Freeform: Shape 332">
              <a:extLst>
                <a:ext uri="{FF2B5EF4-FFF2-40B4-BE49-F238E27FC236}">
                  <a16:creationId xmlns:a16="http://schemas.microsoft.com/office/drawing/2014/main" id="{39B62E24-830C-A1A3-5DFD-9D88BEDA5309}"/>
                </a:ext>
              </a:extLst>
            </p:cNvPr>
            <p:cNvSpPr/>
            <p:nvPr/>
          </p:nvSpPr>
          <p:spPr>
            <a:xfrm>
              <a:off x="7028005" y="-19250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4" name="Freeform: Shape 333">
              <a:extLst>
                <a:ext uri="{FF2B5EF4-FFF2-40B4-BE49-F238E27FC236}">
                  <a16:creationId xmlns:a16="http://schemas.microsoft.com/office/drawing/2014/main" id="{320E2608-52CD-68FB-BAFF-37275256EF60}"/>
                </a:ext>
              </a:extLst>
            </p:cNvPr>
            <p:cNvSpPr/>
            <p:nvPr/>
          </p:nvSpPr>
          <p:spPr>
            <a:xfrm>
              <a:off x="7084012" y="-195929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5" name="Freeform: Shape 334">
              <a:extLst>
                <a:ext uri="{FF2B5EF4-FFF2-40B4-BE49-F238E27FC236}">
                  <a16:creationId xmlns:a16="http://schemas.microsoft.com/office/drawing/2014/main" id="{F4601B47-2505-0BC9-4CC4-8B0E84439C04}"/>
                </a:ext>
              </a:extLst>
            </p:cNvPr>
            <p:cNvSpPr/>
            <p:nvPr/>
          </p:nvSpPr>
          <p:spPr>
            <a:xfrm>
              <a:off x="7181167" y="-1914721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6" name="Freeform: Shape 335">
              <a:extLst>
                <a:ext uri="{FF2B5EF4-FFF2-40B4-BE49-F238E27FC236}">
                  <a16:creationId xmlns:a16="http://schemas.microsoft.com/office/drawing/2014/main" id="{72CDB27E-2FAD-5AE5-00FE-65F46EEF964B}"/>
                </a:ext>
              </a:extLst>
            </p:cNvPr>
            <p:cNvSpPr/>
            <p:nvPr/>
          </p:nvSpPr>
          <p:spPr>
            <a:xfrm>
              <a:off x="7237174" y="-194901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7" name="Freeform: Shape 336">
              <a:extLst>
                <a:ext uri="{FF2B5EF4-FFF2-40B4-BE49-F238E27FC236}">
                  <a16:creationId xmlns:a16="http://schemas.microsoft.com/office/drawing/2014/main" id="{F6142BBA-6E06-B8A4-2929-6E4C83497321}"/>
                </a:ext>
              </a:extLst>
            </p:cNvPr>
            <p:cNvSpPr/>
            <p:nvPr/>
          </p:nvSpPr>
          <p:spPr>
            <a:xfrm>
              <a:off x="7222315" y="-191472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8" name="Freeform: Shape 337">
              <a:extLst>
                <a:ext uri="{FF2B5EF4-FFF2-40B4-BE49-F238E27FC236}">
                  <a16:creationId xmlns:a16="http://schemas.microsoft.com/office/drawing/2014/main" id="{4AE92F90-B0ED-C050-54A1-213EC880BC55}"/>
                </a:ext>
              </a:extLst>
            </p:cNvPr>
            <p:cNvSpPr/>
            <p:nvPr/>
          </p:nvSpPr>
          <p:spPr>
            <a:xfrm>
              <a:off x="7278322" y="-194901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9" name="Freeform: Shape 338">
              <a:extLst>
                <a:ext uri="{FF2B5EF4-FFF2-40B4-BE49-F238E27FC236}">
                  <a16:creationId xmlns:a16="http://schemas.microsoft.com/office/drawing/2014/main" id="{61AD5840-7F3A-5244-0D51-26DC3AA20DEC}"/>
                </a:ext>
              </a:extLst>
            </p:cNvPr>
            <p:cNvSpPr/>
            <p:nvPr/>
          </p:nvSpPr>
          <p:spPr>
            <a:xfrm>
              <a:off x="7270321" y="-1914721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0" name="Freeform: Shape 339">
              <a:extLst>
                <a:ext uri="{FF2B5EF4-FFF2-40B4-BE49-F238E27FC236}">
                  <a16:creationId xmlns:a16="http://schemas.microsoft.com/office/drawing/2014/main" id="{B02EFD96-64DC-95F8-7ABB-58439CE05AB2}"/>
                </a:ext>
              </a:extLst>
            </p:cNvPr>
            <p:cNvSpPr/>
            <p:nvPr/>
          </p:nvSpPr>
          <p:spPr>
            <a:xfrm>
              <a:off x="7326328" y="-194901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1" name="Freeform: Shape 340">
              <a:extLst>
                <a:ext uri="{FF2B5EF4-FFF2-40B4-BE49-F238E27FC236}">
                  <a16:creationId xmlns:a16="http://schemas.microsoft.com/office/drawing/2014/main" id="{8974D68D-F9D8-A0B1-09DD-52E0BC83FE81}"/>
                </a:ext>
              </a:extLst>
            </p:cNvPr>
            <p:cNvSpPr/>
            <p:nvPr/>
          </p:nvSpPr>
          <p:spPr>
            <a:xfrm>
              <a:off x="7305754" y="-1904434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2" name="Freeform: Shape 341">
              <a:extLst>
                <a:ext uri="{FF2B5EF4-FFF2-40B4-BE49-F238E27FC236}">
                  <a16:creationId xmlns:a16="http://schemas.microsoft.com/office/drawing/2014/main" id="{56E4BE0D-F1ED-DD57-5855-A7E1B11128FB}"/>
                </a:ext>
              </a:extLst>
            </p:cNvPr>
            <p:cNvSpPr/>
            <p:nvPr/>
          </p:nvSpPr>
          <p:spPr>
            <a:xfrm>
              <a:off x="7361761" y="-193986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3" name="Freeform: Shape 342">
              <a:extLst>
                <a:ext uri="{FF2B5EF4-FFF2-40B4-BE49-F238E27FC236}">
                  <a16:creationId xmlns:a16="http://schemas.microsoft.com/office/drawing/2014/main" id="{8BA92CA9-B13F-C712-92D1-0F275DA35B1E}"/>
                </a:ext>
              </a:extLst>
            </p:cNvPr>
            <p:cNvSpPr/>
            <p:nvPr/>
          </p:nvSpPr>
          <p:spPr>
            <a:xfrm>
              <a:off x="7772098" y="-184271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4" name="Freeform: Shape 343">
              <a:extLst>
                <a:ext uri="{FF2B5EF4-FFF2-40B4-BE49-F238E27FC236}">
                  <a16:creationId xmlns:a16="http://schemas.microsoft.com/office/drawing/2014/main" id="{F2DBE3F6-B2AB-514A-2879-E6AC1DA22B79}"/>
                </a:ext>
              </a:extLst>
            </p:cNvPr>
            <p:cNvSpPr/>
            <p:nvPr/>
          </p:nvSpPr>
          <p:spPr>
            <a:xfrm>
              <a:off x="7828105" y="-187814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5" name="Freeform: Shape 344">
              <a:extLst>
                <a:ext uri="{FF2B5EF4-FFF2-40B4-BE49-F238E27FC236}">
                  <a16:creationId xmlns:a16="http://schemas.microsoft.com/office/drawing/2014/main" id="{4005C4F3-8A47-C91B-CB61-6BC5ED90C01D}"/>
                </a:ext>
              </a:extLst>
            </p:cNvPr>
            <p:cNvSpPr/>
            <p:nvPr/>
          </p:nvSpPr>
          <p:spPr>
            <a:xfrm>
              <a:off x="7818961" y="-184271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6" name="Freeform: Shape 345">
              <a:extLst>
                <a:ext uri="{FF2B5EF4-FFF2-40B4-BE49-F238E27FC236}">
                  <a16:creationId xmlns:a16="http://schemas.microsoft.com/office/drawing/2014/main" id="{0EB08542-A4E6-2DA4-BEB3-63BB8C9E85B3}"/>
                </a:ext>
              </a:extLst>
            </p:cNvPr>
            <p:cNvSpPr/>
            <p:nvPr/>
          </p:nvSpPr>
          <p:spPr>
            <a:xfrm>
              <a:off x="7874968" y="-187814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7" name="Freeform: Shape 346">
              <a:extLst>
                <a:ext uri="{FF2B5EF4-FFF2-40B4-BE49-F238E27FC236}">
                  <a16:creationId xmlns:a16="http://schemas.microsoft.com/office/drawing/2014/main" id="{7139ABD9-1E25-E3B6-83C6-EE53150EB3DE}"/>
                </a:ext>
              </a:extLst>
            </p:cNvPr>
            <p:cNvSpPr/>
            <p:nvPr/>
          </p:nvSpPr>
          <p:spPr>
            <a:xfrm>
              <a:off x="7936690" y="-184271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8" name="Freeform: Shape 347">
              <a:extLst>
                <a:ext uri="{FF2B5EF4-FFF2-40B4-BE49-F238E27FC236}">
                  <a16:creationId xmlns:a16="http://schemas.microsoft.com/office/drawing/2014/main" id="{57782DE7-6800-24B0-0076-21D977CCC4AD}"/>
                </a:ext>
              </a:extLst>
            </p:cNvPr>
            <p:cNvSpPr/>
            <p:nvPr/>
          </p:nvSpPr>
          <p:spPr>
            <a:xfrm>
              <a:off x="7992697" y="-187814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9" name="Freeform: Shape 348">
              <a:extLst>
                <a:ext uri="{FF2B5EF4-FFF2-40B4-BE49-F238E27FC236}">
                  <a16:creationId xmlns:a16="http://schemas.microsoft.com/office/drawing/2014/main" id="{E0BBF390-C2AF-71BA-96CC-E74C214CD434}"/>
                </a:ext>
              </a:extLst>
            </p:cNvPr>
            <p:cNvSpPr/>
            <p:nvPr/>
          </p:nvSpPr>
          <p:spPr>
            <a:xfrm>
              <a:off x="8173291" y="-18107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0" name="Freeform: Shape 349">
              <a:extLst>
                <a:ext uri="{FF2B5EF4-FFF2-40B4-BE49-F238E27FC236}">
                  <a16:creationId xmlns:a16="http://schemas.microsoft.com/office/drawing/2014/main" id="{4253664D-232C-CE66-180A-9432F68D1DE9}"/>
                </a:ext>
              </a:extLst>
            </p:cNvPr>
            <p:cNvSpPr/>
            <p:nvPr/>
          </p:nvSpPr>
          <p:spPr>
            <a:xfrm>
              <a:off x="8229298" y="-18461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1" name="Freeform: Shape 350">
              <a:extLst>
                <a:ext uri="{FF2B5EF4-FFF2-40B4-BE49-F238E27FC236}">
                  <a16:creationId xmlns:a16="http://schemas.microsoft.com/office/drawing/2014/main" id="{F85082DA-3C45-DA41-0952-069656913824}"/>
                </a:ext>
              </a:extLst>
            </p:cNvPr>
            <p:cNvSpPr/>
            <p:nvPr/>
          </p:nvSpPr>
          <p:spPr>
            <a:xfrm>
              <a:off x="8279590" y="-18107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2" name="Freeform: Shape 351">
              <a:extLst>
                <a:ext uri="{FF2B5EF4-FFF2-40B4-BE49-F238E27FC236}">
                  <a16:creationId xmlns:a16="http://schemas.microsoft.com/office/drawing/2014/main" id="{C8076A42-A3BA-E5EA-B13B-CDE8DAE89A3B}"/>
                </a:ext>
              </a:extLst>
            </p:cNvPr>
            <p:cNvSpPr/>
            <p:nvPr/>
          </p:nvSpPr>
          <p:spPr>
            <a:xfrm>
              <a:off x="8335597" y="-18461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3" name="Freeform: Shape 352">
              <a:extLst>
                <a:ext uri="{FF2B5EF4-FFF2-40B4-BE49-F238E27FC236}">
                  <a16:creationId xmlns:a16="http://schemas.microsoft.com/office/drawing/2014/main" id="{B2CE0900-3472-4BE0-D51A-69927C8839AD}"/>
                </a:ext>
              </a:extLst>
            </p:cNvPr>
            <p:cNvSpPr/>
            <p:nvPr/>
          </p:nvSpPr>
          <p:spPr>
            <a:xfrm>
              <a:off x="8805370" y="-172612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4" name="Freeform: Shape 353">
              <a:extLst>
                <a:ext uri="{FF2B5EF4-FFF2-40B4-BE49-F238E27FC236}">
                  <a16:creationId xmlns:a16="http://schemas.microsoft.com/office/drawing/2014/main" id="{2F8D6AFF-9A2C-5E93-C392-43D4C708E894}"/>
                </a:ext>
              </a:extLst>
            </p:cNvPr>
            <p:cNvSpPr/>
            <p:nvPr/>
          </p:nvSpPr>
          <p:spPr>
            <a:xfrm>
              <a:off x="8861377" y="-176041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5" name="Freeform: Shape 354">
              <a:extLst>
                <a:ext uri="{FF2B5EF4-FFF2-40B4-BE49-F238E27FC236}">
                  <a16:creationId xmlns:a16="http://schemas.microsoft.com/office/drawing/2014/main" id="{ED1BFAD1-0653-47C2-B9AD-CE807CCF35E2}"/>
                </a:ext>
              </a:extLst>
            </p:cNvPr>
            <p:cNvSpPr/>
            <p:nvPr/>
          </p:nvSpPr>
          <p:spPr>
            <a:xfrm>
              <a:off x="8852233" y="-171469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6" name="Freeform: Shape 355">
              <a:extLst>
                <a:ext uri="{FF2B5EF4-FFF2-40B4-BE49-F238E27FC236}">
                  <a16:creationId xmlns:a16="http://schemas.microsoft.com/office/drawing/2014/main" id="{D8199AE9-2AC1-BFB8-1654-738B8551C252}"/>
                </a:ext>
              </a:extLst>
            </p:cNvPr>
            <p:cNvSpPr/>
            <p:nvPr/>
          </p:nvSpPr>
          <p:spPr>
            <a:xfrm>
              <a:off x="8908240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7" name="Freeform: Shape 356">
              <a:extLst>
                <a:ext uri="{FF2B5EF4-FFF2-40B4-BE49-F238E27FC236}">
                  <a16:creationId xmlns:a16="http://schemas.microsoft.com/office/drawing/2014/main" id="{BB0A2D53-DF57-A651-251D-D97EE50E7EAA}"/>
                </a:ext>
              </a:extLst>
            </p:cNvPr>
            <p:cNvSpPr/>
            <p:nvPr/>
          </p:nvSpPr>
          <p:spPr>
            <a:xfrm>
              <a:off x="8923099" y="-171469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8" name="Freeform: Shape 357">
              <a:extLst>
                <a:ext uri="{FF2B5EF4-FFF2-40B4-BE49-F238E27FC236}">
                  <a16:creationId xmlns:a16="http://schemas.microsoft.com/office/drawing/2014/main" id="{7695328F-4273-B853-3CD0-2ED7DCF207AA}"/>
                </a:ext>
              </a:extLst>
            </p:cNvPr>
            <p:cNvSpPr/>
            <p:nvPr/>
          </p:nvSpPr>
          <p:spPr>
            <a:xfrm>
              <a:off x="8979106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9" name="Freeform: Shape 358">
              <a:extLst>
                <a:ext uri="{FF2B5EF4-FFF2-40B4-BE49-F238E27FC236}">
                  <a16:creationId xmlns:a16="http://schemas.microsoft.com/office/drawing/2014/main" id="{C8EF190D-9F9E-22C0-DABF-557EE8163D39}"/>
                </a:ext>
              </a:extLst>
            </p:cNvPr>
            <p:cNvSpPr/>
            <p:nvPr/>
          </p:nvSpPr>
          <p:spPr>
            <a:xfrm>
              <a:off x="8964247" y="-17146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0" name="Freeform: Shape 359">
              <a:extLst>
                <a:ext uri="{FF2B5EF4-FFF2-40B4-BE49-F238E27FC236}">
                  <a16:creationId xmlns:a16="http://schemas.microsoft.com/office/drawing/2014/main" id="{0F781C8D-90EC-F94D-859C-C5A9DAF58FBB}"/>
                </a:ext>
              </a:extLst>
            </p:cNvPr>
            <p:cNvSpPr/>
            <p:nvPr/>
          </p:nvSpPr>
          <p:spPr>
            <a:xfrm>
              <a:off x="9020254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1" name="Freeform: Shape 360">
              <a:extLst>
                <a:ext uri="{FF2B5EF4-FFF2-40B4-BE49-F238E27FC236}">
                  <a16:creationId xmlns:a16="http://schemas.microsoft.com/office/drawing/2014/main" id="{BF80027B-1A47-4817-BFF5-6A60BC6C70CF}"/>
                </a:ext>
              </a:extLst>
            </p:cNvPr>
            <p:cNvSpPr/>
            <p:nvPr/>
          </p:nvSpPr>
          <p:spPr>
            <a:xfrm>
              <a:off x="8976820" y="-17146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2" name="Freeform: Shape 361">
              <a:extLst>
                <a:ext uri="{FF2B5EF4-FFF2-40B4-BE49-F238E27FC236}">
                  <a16:creationId xmlns:a16="http://schemas.microsoft.com/office/drawing/2014/main" id="{5AD42296-BF2D-F861-89A5-852CC3250758}"/>
                </a:ext>
              </a:extLst>
            </p:cNvPr>
            <p:cNvSpPr/>
            <p:nvPr/>
          </p:nvSpPr>
          <p:spPr>
            <a:xfrm>
              <a:off x="9032827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3" name="Freeform: Shape 362">
              <a:extLst>
                <a:ext uri="{FF2B5EF4-FFF2-40B4-BE49-F238E27FC236}">
                  <a16:creationId xmlns:a16="http://schemas.microsoft.com/office/drawing/2014/main" id="{47E1F8CB-E00A-751D-2B65-2A06DE80C530}"/>
                </a:ext>
              </a:extLst>
            </p:cNvPr>
            <p:cNvSpPr/>
            <p:nvPr/>
          </p:nvSpPr>
          <p:spPr>
            <a:xfrm>
              <a:off x="9041971" y="-171469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4" name="Freeform: Shape 363">
              <a:extLst>
                <a:ext uri="{FF2B5EF4-FFF2-40B4-BE49-F238E27FC236}">
                  <a16:creationId xmlns:a16="http://schemas.microsoft.com/office/drawing/2014/main" id="{15F8DB27-416A-EF79-7870-BACC3D044E5A}"/>
                </a:ext>
              </a:extLst>
            </p:cNvPr>
            <p:cNvSpPr/>
            <p:nvPr/>
          </p:nvSpPr>
          <p:spPr>
            <a:xfrm>
              <a:off x="9097978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5" name="Freeform: Shape 364">
              <a:extLst>
                <a:ext uri="{FF2B5EF4-FFF2-40B4-BE49-F238E27FC236}">
                  <a16:creationId xmlns:a16="http://schemas.microsoft.com/office/drawing/2014/main" id="{F6C02327-93A6-AAAB-DD34-2D576A986315}"/>
                </a:ext>
              </a:extLst>
            </p:cNvPr>
            <p:cNvSpPr/>
            <p:nvPr/>
          </p:nvSpPr>
          <p:spPr>
            <a:xfrm>
              <a:off x="904768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6" name="Freeform: Shape 365">
              <a:extLst>
                <a:ext uri="{FF2B5EF4-FFF2-40B4-BE49-F238E27FC236}">
                  <a16:creationId xmlns:a16="http://schemas.microsoft.com/office/drawing/2014/main" id="{ED06A66A-7AF8-BA41-0ABA-A43992299AE9}"/>
                </a:ext>
              </a:extLst>
            </p:cNvPr>
            <p:cNvSpPr/>
            <p:nvPr/>
          </p:nvSpPr>
          <p:spPr>
            <a:xfrm>
              <a:off x="910369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7" name="Freeform: Shape 366">
              <a:extLst>
                <a:ext uri="{FF2B5EF4-FFF2-40B4-BE49-F238E27FC236}">
                  <a16:creationId xmlns:a16="http://schemas.microsoft.com/office/drawing/2014/main" id="{293CE6DA-13CF-840C-243D-370BD8A5BE40}"/>
                </a:ext>
              </a:extLst>
            </p:cNvPr>
            <p:cNvSpPr/>
            <p:nvPr/>
          </p:nvSpPr>
          <p:spPr>
            <a:xfrm>
              <a:off x="904768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8" name="Freeform: Shape 367">
              <a:extLst>
                <a:ext uri="{FF2B5EF4-FFF2-40B4-BE49-F238E27FC236}">
                  <a16:creationId xmlns:a16="http://schemas.microsoft.com/office/drawing/2014/main" id="{3C01689A-FD02-D1DB-EA50-8413E0E54675}"/>
                </a:ext>
              </a:extLst>
            </p:cNvPr>
            <p:cNvSpPr/>
            <p:nvPr/>
          </p:nvSpPr>
          <p:spPr>
            <a:xfrm>
              <a:off x="910369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9" name="Freeform: Shape 368">
              <a:extLst>
                <a:ext uri="{FF2B5EF4-FFF2-40B4-BE49-F238E27FC236}">
                  <a16:creationId xmlns:a16="http://schemas.microsoft.com/office/drawing/2014/main" id="{8802F7B2-6855-BED2-E62A-1DE46EBAF563}"/>
                </a:ext>
              </a:extLst>
            </p:cNvPr>
            <p:cNvSpPr/>
            <p:nvPr/>
          </p:nvSpPr>
          <p:spPr>
            <a:xfrm>
              <a:off x="9053401" y="-169183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0" name="Freeform: Shape 369">
              <a:extLst>
                <a:ext uri="{FF2B5EF4-FFF2-40B4-BE49-F238E27FC236}">
                  <a16:creationId xmlns:a16="http://schemas.microsoft.com/office/drawing/2014/main" id="{3BBBF377-82EE-39C2-8144-BF86FDBD7022}"/>
                </a:ext>
              </a:extLst>
            </p:cNvPr>
            <p:cNvSpPr/>
            <p:nvPr/>
          </p:nvSpPr>
          <p:spPr>
            <a:xfrm>
              <a:off x="9109408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1" name="Freeform: Shape 370">
              <a:extLst>
                <a:ext uri="{FF2B5EF4-FFF2-40B4-BE49-F238E27FC236}">
                  <a16:creationId xmlns:a16="http://schemas.microsoft.com/office/drawing/2014/main" id="{F581458E-3323-3998-FEB8-C5A667E02473}"/>
                </a:ext>
              </a:extLst>
            </p:cNvPr>
            <p:cNvSpPr/>
            <p:nvPr/>
          </p:nvSpPr>
          <p:spPr>
            <a:xfrm>
              <a:off x="905911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2" name="Freeform: Shape 371">
              <a:extLst>
                <a:ext uri="{FF2B5EF4-FFF2-40B4-BE49-F238E27FC236}">
                  <a16:creationId xmlns:a16="http://schemas.microsoft.com/office/drawing/2014/main" id="{3D5EC1DB-5370-2D50-6881-D966BB79569A}"/>
                </a:ext>
              </a:extLst>
            </p:cNvPr>
            <p:cNvSpPr/>
            <p:nvPr/>
          </p:nvSpPr>
          <p:spPr>
            <a:xfrm>
              <a:off x="911512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3" name="Freeform: Shape 372">
              <a:extLst>
                <a:ext uri="{FF2B5EF4-FFF2-40B4-BE49-F238E27FC236}">
                  <a16:creationId xmlns:a16="http://schemas.microsoft.com/office/drawing/2014/main" id="{91E688A7-12D4-2812-1090-04A670D15D1B}"/>
                </a:ext>
              </a:extLst>
            </p:cNvPr>
            <p:cNvSpPr/>
            <p:nvPr/>
          </p:nvSpPr>
          <p:spPr>
            <a:xfrm>
              <a:off x="905911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4" name="Freeform: Shape 373">
              <a:extLst>
                <a:ext uri="{FF2B5EF4-FFF2-40B4-BE49-F238E27FC236}">
                  <a16:creationId xmlns:a16="http://schemas.microsoft.com/office/drawing/2014/main" id="{24E84434-3450-B0A6-C7AD-229965FD06FE}"/>
                </a:ext>
              </a:extLst>
            </p:cNvPr>
            <p:cNvSpPr/>
            <p:nvPr/>
          </p:nvSpPr>
          <p:spPr>
            <a:xfrm>
              <a:off x="911512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5" name="Freeform: Shape 374">
              <a:extLst>
                <a:ext uri="{FF2B5EF4-FFF2-40B4-BE49-F238E27FC236}">
                  <a16:creationId xmlns:a16="http://schemas.microsoft.com/office/drawing/2014/main" id="{A4C02079-7E7B-71B0-E2B3-5FA762B2BF0F}"/>
                </a:ext>
              </a:extLst>
            </p:cNvPr>
            <p:cNvSpPr/>
            <p:nvPr/>
          </p:nvSpPr>
          <p:spPr>
            <a:xfrm>
              <a:off x="905911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6" name="Freeform: Shape 375">
              <a:extLst>
                <a:ext uri="{FF2B5EF4-FFF2-40B4-BE49-F238E27FC236}">
                  <a16:creationId xmlns:a16="http://schemas.microsoft.com/office/drawing/2014/main" id="{5A3D3A57-1668-7F46-5F30-066939ED46CD}"/>
                </a:ext>
              </a:extLst>
            </p:cNvPr>
            <p:cNvSpPr/>
            <p:nvPr/>
          </p:nvSpPr>
          <p:spPr>
            <a:xfrm>
              <a:off x="911512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7" name="Freeform: Shape 376">
              <a:extLst>
                <a:ext uri="{FF2B5EF4-FFF2-40B4-BE49-F238E27FC236}">
                  <a16:creationId xmlns:a16="http://schemas.microsoft.com/office/drawing/2014/main" id="{3C7AF716-2F81-8E5F-BDE6-F0994B001BE4}"/>
                </a:ext>
              </a:extLst>
            </p:cNvPr>
            <p:cNvSpPr/>
            <p:nvPr/>
          </p:nvSpPr>
          <p:spPr>
            <a:xfrm>
              <a:off x="9124267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8" name="Freeform: Shape 377">
              <a:extLst>
                <a:ext uri="{FF2B5EF4-FFF2-40B4-BE49-F238E27FC236}">
                  <a16:creationId xmlns:a16="http://schemas.microsoft.com/office/drawing/2014/main" id="{CBF82FBD-BDB3-6655-B4DE-5BDEE965C645}"/>
                </a:ext>
              </a:extLst>
            </p:cNvPr>
            <p:cNvSpPr/>
            <p:nvPr/>
          </p:nvSpPr>
          <p:spPr>
            <a:xfrm>
              <a:off x="9180274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9" name="Freeform: Shape 378">
              <a:extLst>
                <a:ext uri="{FF2B5EF4-FFF2-40B4-BE49-F238E27FC236}">
                  <a16:creationId xmlns:a16="http://schemas.microsoft.com/office/drawing/2014/main" id="{96D479E7-6033-E74F-CFAF-86AC83604754}"/>
                </a:ext>
              </a:extLst>
            </p:cNvPr>
            <p:cNvSpPr/>
            <p:nvPr/>
          </p:nvSpPr>
          <p:spPr>
            <a:xfrm>
              <a:off x="9171130" y="-169183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0" name="Freeform: Shape 379">
              <a:extLst>
                <a:ext uri="{FF2B5EF4-FFF2-40B4-BE49-F238E27FC236}">
                  <a16:creationId xmlns:a16="http://schemas.microsoft.com/office/drawing/2014/main" id="{93DE410B-8B87-FBE5-4B4C-5DBB40DD1440}"/>
                </a:ext>
              </a:extLst>
            </p:cNvPr>
            <p:cNvSpPr/>
            <p:nvPr/>
          </p:nvSpPr>
          <p:spPr>
            <a:xfrm>
              <a:off x="9227137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1" name="Freeform: Shape 380">
              <a:extLst>
                <a:ext uri="{FF2B5EF4-FFF2-40B4-BE49-F238E27FC236}">
                  <a16:creationId xmlns:a16="http://schemas.microsoft.com/office/drawing/2014/main" id="{8349DCA7-6BDC-1215-3D06-2CACB86A70A9}"/>
                </a:ext>
              </a:extLst>
            </p:cNvPr>
            <p:cNvSpPr/>
            <p:nvPr/>
          </p:nvSpPr>
          <p:spPr>
            <a:xfrm>
              <a:off x="9176845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2" name="Freeform: Shape 381">
              <a:extLst>
                <a:ext uri="{FF2B5EF4-FFF2-40B4-BE49-F238E27FC236}">
                  <a16:creationId xmlns:a16="http://schemas.microsoft.com/office/drawing/2014/main" id="{FD54B50A-9571-D1DA-F100-B7CA5EECE073}"/>
                </a:ext>
              </a:extLst>
            </p:cNvPr>
            <p:cNvSpPr/>
            <p:nvPr/>
          </p:nvSpPr>
          <p:spPr>
            <a:xfrm>
              <a:off x="9232852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3" name="Freeform: Shape 382">
              <a:extLst>
                <a:ext uri="{FF2B5EF4-FFF2-40B4-BE49-F238E27FC236}">
                  <a16:creationId xmlns:a16="http://schemas.microsoft.com/office/drawing/2014/main" id="{B90FF2DE-6A96-B4F7-D0B7-A668628F7B29}"/>
                </a:ext>
              </a:extLst>
            </p:cNvPr>
            <p:cNvSpPr/>
            <p:nvPr/>
          </p:nvSpPr>
          <p:spPr>
            <a:xfrm>
              <a:off x="9195133" y="-169183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4" name="Freeform: Shape 383">
              <a:extLst>
                <a:ext uri="{FF2B5EF4-FFF2-40B4-BE49-F238E27FC236}">
                  <a16:creationId xmlns:a16="http://schemas.microsoft.com/office/drawing/2014/main" id="{7D73FD03-376A-E3D7-B0C4-A37853DD98E9}"/>
                </a:ext>
              </a:extLst>
            </p:cNvPr>
            <p:cNvSpPr/>
            <p:nvPr/>
          </p:nvSpPr>
          <p:spPr>
            <a:xfrm>
              <a:off x="9251140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5" name="Freeform: Shape 384">
              <a:extLst>
                <a:ext uri="{FF2B5EF4-FFF2-40B4-BE49-F238E27FC236}">
                  <a16:creationId xmlns:a16="http://schemas.microsoft.com/office/drawing/2014/main" id="{B627B514-72CC-E499-183D-EE6EAA7FA6CC}"/>
                </a:ext>
              </a:extLst>
            </p:cNvPr>
            <p:cNvSpPr/>
            <p:nvPr/>
          </p:nvSpPr>
          <p:spPr>
            <a:xfrm>
              <a:off x="9200848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6" name="Freeform: Shape 385">
              <a:extLst>
                <a:ext uri="{FF2B5EF4-FFF2-40B4-BE49-F238E27FC236}">
                  <a16:creationId xmlns:a16="http://schemas.microsoft.com/office/drawing/2014/main" id="{8BE46C49-C52A-F899-BDEC-91D3C60D4A29}"/>
                </a:ext>
              </a:extLst>
            </p:cNvPr>
            <p:cNvSpPr/>
            <p:nvPr/>
          </p:nvSpPr>
          <p:spPr>
            <a:xfrm>
              <a:off x="9256855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7" name="Freeform: Shape 386">
              <a:extLst>
                <a:ext uri="{FF2B5EF4-FFF2-40B4-BE49-F238E27FC236}">
                  <a16:creationId xmlns:a16="http://schemas.microsoft.com/office/drawing/2014/main" id="{9FD64F88-8A00-6794-02EC-F97B27CC3459}"/>
                </a:ext>
              </a:extLst>
            </p:cNvPr>
            <p:cNvSpPr/>
            <p:nvPr/>
          </p:nvSpPr>
          <p:spPr>
            <a:xfrm>
              <a:off x="9212278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8" name="Freeform: Shape 387">
              <a:extLst>
                <a:ext uri="{FF2B5EF4-FFF2-40B4-BE49-F238E27FC236}">
                  <a16:creationId xmlns:a16="http://schemas.microsoft.com/office/drawing/2014/main" id="{63B45C1B-3212-1E8A-9046-7939A25E05F6}"/>
                </a:ext>
              </a:extLst>
            </p:cNvPr>
            <p:cNvSpPr/>
            <p:nvPr/>
          </p:nvSpPr>
          <p:spPr>
            <a:xfrm>
              <a:off x="9268285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9" name="Freeform: Shape 388">
              <a:extLst>
                <a:ext uri="{FF2B5EF4-FFF2-40B4-BE49-F238E27FC236}">
                  <a16:creationId xmlns:a16="http://schemas.microsoft.com/office/drawing/2014/main" id="{3EC3C500-9901-8358-10F9-0D785AC781E4}"/>
                </a:ext>
              </a:extLst>
            </p:cNvPr>
            <p:cNvSpPr/>
            <p:nvPr/>
          </p:nvSpPr>
          <p:spPr>
            <a:xfrm>
              <a:off x="9212278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0" name="Freeform: Shape 389">
              <a:extLst>
                <a:ext uri="{FF2B5EF4-FFF2-40B4-BE49-F238E27FC236}">
                  <a16:creationId xmlns:a16="http://schemas.microsoft.com/office/drawing/2014/main" id="{508C5126-BB34-85C9-237C-3439026E575B}"/>
                </a:ext>
              </a:extLst>
            </p:cNvPr>
            <p:cNvSpPr/>
            <p:nvPr/>
          </p:nvSpPr>
          <p:spPr>
            <a:xfrm>
              <a:off x="9268285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1" name="Freeform: Shape 390">
              <a:extLst>
                <a:ext uri="{FF2B5EF4-FFF2-40B4-BE49-F238E27FC236}">
                  <a16:creationId xmlns:a16="http://schemas.microsoft.com/office/drawing/2014/main" id="{074F81C5-6CEF-CC10-C4AD-BF1B070108E1}"/>
                </a:ext>
              </a:extLst>
            </p:cNvPr>
            <p:cNvSpPr/>
            <p:nvPr/>
          </p:nvSpPr>
          <p:spPr>
            <a:xfrm>
              <a:off x="9219136" y="-169183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2" name="Freeform: Shape 391">
              <a:extLst>
                <a:ext uri="{FF2B5EF4-FFF2-40B4-BE49-F238E27FC236}">
                  <a16:creationId xmlns:a16="http://schemas.microsoft.com/office/drawing/2014/main" id="{749E49A7-EBE9-FF7A-9421-FEC5CA7EF275}"/>
                </a:ext>
              </a:extLst>
            </p:cNvPr>
            <p:cNvSpPr/>
            <p:nvPr/>
          </p:nvSpPr>
          <p:spPr>
            <a:xfrm>
              <a:off x="9274000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3" name="Freeform: Shape 392">
              <a:extLst>
                <a:ext uri="{FF2B5EF4-FFF2-40B4-BE49-F238E27FC236}">
                  <a16:creationId xmlns:a16="http://schemas.microsoft.com/office/drawing/2014/main" id="{99B8AD16-A4EE-89BC-86AD-2662A3F50F9D}"/>
                </a:ext>
              </a:extLst>
            </p:cNvPr>
            <p:cNvSpPr/>
            <p:nvPr/>
          </p:nvSpPr>
          <p:spPr>
            <a:xfrm>
              <a:off x="9219136" y="-169183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4" name="Freeform: Shape 393">
              <a:extLst>
                <a:ext uri="{FF2B5EF4-FFF2-40B4-BE49-F238E27FC236}">
                  <a16:creationId xmlns:a16="http://schemas.microsoft.com/office/drawing/2014/main" id="{3D490A4B-587A-18F4-E530-164CACEB28DA}"/>
                </a:ext>
              </a:extLst>
            </p:cNvPr>
            <p:cNvSpPr/>
            <p:nvPr/>
          </p:nvSpPr>
          <p:spPr>
            <a:xfrm>
              <a:off x="9274000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5" name="Freeform: Shape 394">
              <a:extLst>
                <a:ext uri="{FF2B5EF4-FFF2-40B4-BE49-F238E27FC236}">
                  <a16:creationId xmlns:a16="http://schemas.microsoft.com/office/drawing/2014/main" id="{FBDA89E4-5208-8F97-7A05-4BA7C6B9BC5A}"/>
                </a:ext>
              </a:extLst>
            </p:cNvPr>
            <p:cNvSpPr/>
            <p:nvPr/>
          </p:nvSpPr>
          <p:spPr>
            <a:xfrm>
              <a:off x="9283144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6" name="Freeform: Shape 395">
              <a:extLst>
                <a:ext uri="{FF2B5EF4-FFF2-40B4-BE49-F238E27FC236}">
                  <a16:creationId xmlns:a16="http://schemas.microsoft.com/office/drawing/2014/main" id="{64E2A53E-7317-9F22-B0C2-0233CB3444E4}"/>
                </a:ext>
              </a:extLst>
            </p:cNvPr>
            <p:cNvSpPr/>
            <p:nvPr/>
          </p:nvSpPr>
          <p:spPr>
            <a:xfrm>
              <a:off x="9339151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7" name="Freeform: Shape 396">
              <a:extLst>
                <a:ext uri="{FF2B5EF4-FFF2-40B4-BE49-F238E27FC236}">
                  <a16:creationId xmlns:a16="http://schemas.microsoft.com/office/drawing/2014/main" id="{2768E0B7-AC32-E3CB-77FB-669A7E0356C3}"/>
                </a:ext>
              </a:extLst>
            </p:cNvPr>
            <p:cNvSpPr/>
            <p:nvPr/>
          </p:nvSpPr>
          <p:spPr>
            <a:xfrm>
              <a:off x="9290002" y="-1691836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8" name="Freeform: Shape 397">
              <a:extLst>
                <a:ext uri="{FF2B5EF4-FFF2-40B4-BE49-F238E27FC236}">
                  <a16:creationId xmlns:a16="http://schemas.microsoft.com/office/drawing/2014/main" id="{6A78D983-ACE5-B3EF-0309-6A75E80C8519}"/>
                </a:ext>
              </a:extLst>
            </p:cNvPr>
            <p:cNvSpPr/>
            <p:nvPr/>
          </p:nvSpPr>
          <p:spPr>
            <a:xfrm>
              <a:off x="9344866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9" name="Freeform: Shape 398">
              <a:extLst>
                <a:ext uri="{FF2B5EF4-FFF2-40B4-BE49-F238E27FC236}">
                  <a16:creationId xmlns:a16="http://schemas.microsoft.com/office/drawing/2014/main" id="{47076789-E16A-6B53-DB86-2488422AA6B8}"/>
                </a:ext>
              </a:extLst>
            </p:cNvPr>
            <p:cNvSpPr/>
            <p:nvPr/>
          </p:nvSpPr>
          <p:spPr>
            <a:xfrm>
              <a:off x="9295717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0" name="Freeform: Shape 399">
              <a:extLst>
                <a:ext uri="{FF2B5EF4-FFF2-40B4-BE49-F238E27FC236}">
                  <a16:creationId xmlns:a16="http://schemas.microsoft.com/office/drawing/2014/main" id="{A6AD930F-558C-8DE8-2D53-52E02FCAF910}"/>
                </a:ext>
              </a:extLst>
            </p:cNvPr>
            <p:cNvSpPr/>
            <p:nvPr/>
          </p:nvSpPr>
          <p:spPr>
            <a:xfrm>
              <a:off x="9351724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1" name="Freeform: Shape 400">
              <a:extLst>
                <a:ext uri="{FF2B5EF4-FFF2-40B4-BE49-F238E27FC236}">
                  <a16:creationId xmlns:a16="http://schemas.microsoft.com/office/drawing/2014/main" id="{4905078C-2595-2071-FDCF-1BE071616E7F}"/>
                </a:ext>
              </a:extLst>
            </p:cNvPr>
            <p:cNvSpPr/>
            <p:nvPr/>
          </p:nvSpPr>
          <p:spPr>
            <a:xfrm>
              <a:off x="9301432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2" name="Freeform: Shape 401">
              <a:extLst>
                <a:ext uri="{FF2B5EF4-FFF2-40B4-BE49-F238E27FC236}">
                  <a16:creationId xmlns:a16="http://schemas.microsoft.com/office/drawing/2014/main" id="{DB024D0B-4652-D8EB-6271-9B2F56A30222}"/>
                </a:ext>
              </a:extLst>
            </p:cNvPr>
            <p:cNvSpPr/>
            <p:nvPr/>
          </p:nvSpPr>
          <p:spPr>
            <a:xfrm>
              <a:off x="9357439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3" name="Freeform: Shape 402">
              <a:extLst>
                <a:ext uri="{FF2B5EF4-FFF2-40B4-BE49-F238E27FC236}">
                  <a16:creationId xmlns:a16="http://schemas.microsoft.com/office/drawing/2014/main" id="{A386AABC-EB52-82C2-26A6-C0FA397C8E18}"/>
                </a:ext>
              </a:extLst>
            </p:cNvPr>
            <p:cNvSpPr/>
            <p:nvPr/>
          </p:nvSpPr>
          <p:spPr>
            <a:xfrm>
              <a:off x="9307147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4" name="Freeform: Shape 403">
              <a:extLst>
                <a:ext uri="{FF2B5EF4-FFF2-40B4-BE49-F238E27FC236}">
                  <a16:creationId xmlns:a16="http://schemas.microsoft.com/office/drawing/2014/main" id="{6EB314E5-FDFB-BB07-1C80-9FD684C59B8C}"/>
                </a:ext>
              </a:extLst>
            </p:cNvPr>
            <p:cNvSpPr/>
            <p:nvPr/>
          </p:nvSpPr>
          <p:spPr>
            <a:xfrm>
              <a:off x="9363154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5" name="Freeform: Shape 404">
              <a:extLst>
                <a:ext uri="{FF2B5EF4-FFF2-40B4-BE49-F238E27FC236}">
                  <a16:creationId xmlns:a16="http://schemas.microsoft.com/office/drawing/2014/main" id="{9FB07B72-EEBD-4420-680D-9A52F42F8E52}"/>
                </a:ext>
              </a:extLst>
            </p:cNvPr>
            <p:cNvSpPr/>
            <p:nvPr/>
          </p:nvSpPr>
          <p:spPr>
            <a:xfrm>
              <a:off x="9312862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6" name="Freeform: Shape 405">
              <a:extLst>
                <a:ext uri="{FF2B5EF4-FFF2-40B4-BE49-F238E27FC236}">
                  <a16:creationId xmlns:a16="http://schemas.microsoft.com/office/drawing/2014/main" id="{64C01CB8-C5ED-59B1-F2A0-AC547500AEB4}"/>
                </a:ext>
              </a:extLst>
            </p:cNvPr>
            <p:cNvSpPr/>
            <p:nvPr/>
          </p:nvSpPr>
          <p:spPr>
            <a:xfrm>
              <a:off x="9368869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7" name="Freeform: Shape 406">
              <a:extLst>
                <a:ext uri="{FF2B5EF4-FFF2-40B4-BE49-F238E27FC236}">
                  <a16:creationId xmlns:a16="http://schemas.microsoft.com/office/drawing/2014/main" id="{9F6537F6-56E2-F060-AA28-9EC3FF66DC1A}"/>
                </a:ext>
              </a:extLst>
            </p:cNvPr>
            <p:cNvSpPr/>
            <p:nvPr/>
          </p:nvSpPr>
          <p:spPr>
            <a:xfrm>
              <a:off x="9336865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8" name="Freeform: Shape 407">
              <a:extLst>
                <a:ext uri="{FF2B5EF4-FFF2-40B4-BE49-F238E27FC236}">
                  <a16:creationId xmlns:a16="http://schemas.microsoft.com/office/drawing/2014/main" id="{74B303C9-2BC9-1BD1-053D-28D3166C67AF}"/>
                </a:ext>
              </a:extLst>
            </p:cNvPr>
            <p:cNvSpPr/>
            <p:nvPr/>
          </p:nvSpPr>
          <p:spPr>
            <a:xfrm>
              <a:off x="9392872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9" name="Freeform: Shape 408">
              <a:extLst>
                <a:ext uri="{FF2B5EF4-FFF2-40B4-BE49-F238E27FC236}">
                  <a16:creationId xmlns:a16="http://schemas.microsoft.com/office/drawing/2014/main" id="{405DE994-AFA0-C4E0-BB0D-525FBD60DB82}"/>
                </a:ext>
              </a:extLst>
            </p:cNvPr>
            <p:cNvSpPr/>
            <p:nvPr/>
          </p:nvSpPr>
          <p:spPr>
            <a:xfrm>
              <a:off x="9419161" y="-166440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0" name="Freeform: Shape 409">
              <a:extLst>
                <a:ext uri="{FF2B5EF4-FFF2-40B4-BE49-F238E27FC236}">
                  <a16:creationId xmlns:a16="http://schemas.microsoft.com/office/drawing/2014/main" id="{CB59ABFC-45D7-4A25-1879-DA7433C42949}"/>
                </a:ext>
              </a:extLst>
            </p:cNvPr>
            <p:cNvSpPr/>
            <p:nvPr/>
          </p:nvSpPr>
          <p:spPr>
            <a:xfrm>
              <a:off x="9475168" y="-169869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1" name="Freeform: Shape 410">
              <a:extLst>
                <a:ext uri="{FF2B5EF4-FFF2-40B4-BE49-F238E27FC236}">
                  <a16:creationId xmlns:a16="http://schemas.microsoft.com/office/drawing/2014/main" id="{41754A38-08E3-F136-1D78-575A46A1FEB9}"/>
                </a:ext>
              </a:extLst>
            </p:cNvPr>
            <p:cNvSpPr/>
            <p:nvPr/>
          </p:nvSpPr>
          <p:spPr>
            <a:xfrm>
              <a:off x="9419161" y="-166440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2" name="Freeform: Shape 411">
              <a:extLst>
                <a:ext uri="{FF2B5EF4-FFF2-40B4-BE49-F238E27FC236}">
                  <a16:creationId xmlns:a16="http://schemas.microsoft.com/office/drawing/2014/main" id="{55D71B9C-F8D2-5104-12CD-FC082DB0D0D3}"/>
                </a:ext>
              </a:extLst>
            </p:cNvPr>
            <p:cNvSpPr/>
            <p:nvPr/>
          </p:nvSpPr>
          <p:spPr>
            <a:xfrm>
              <a:off x="9475168" y="-169869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3" name="Freeform: Shape 412">
              <a:extLst>
                <a:ext uri="{FF2B5EF4-FFF2-40B4-BE49-F238E27FC236}">
                  <a16:creationId xmlns:a16="http://schemas.microsoft.com/office/drawing/2014/main" id="{6BA343F9-A194-83AE-DC26-68090235DD64}"/>
                </a:ext>
              </a:extLst>
            </p:cNvPr>
            <p:cNvSpPr/>
            <p:nvPr/>
          </p:nvSpPr>
          <p:spPr>
            <a:xfrm>
              <a:off x="9525460" y="-163468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4" name="Freeform: Shape 413">
              <a:extLst>
                <a:ext uri="{FF2B5EF4-FFF2-40B4-BE49-F238E27FC236}">
                  <a16:creationId xmlns:a16="http://schemas.microsoft.com/office/drawing/2014/main" id="{BB613B6E-DC0B-3F22-1C42-837F2933530F}"/>
                </a:ext>
              </a:extLst>
            </p:cNvPr>
            <p:cNvSpPr/>
            <p:nvPr/>
          </p:nvSpPr>
          <p:spPr>
            <a:xfrm>
              <a:off x="9581467" y="-166897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5" name="Freeform: Shape 414">
              <a:extLst>
                <a:ext uri="{FF2B5EF4-FFF2-40B4-BE49-F238E27FC236}">
                  <a16:creationId xmlns:a16="http://schemas.microsoft.com/office/drawing/2014/main" id="{9E304606-394C-C9C5-5F5A-2065CFDE6795}"/>
                </a:ext>
              </a:extLst>
            </p:cNvPr>
            <p:cNvSpPr/>
            <p:nvPr/>
          </p:nvSpPr>
          <p:spPr>
            <a:xfrm>
              <a:off x="9538033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6" name="Freeform: Shape 415">
              <a:extLst>
                <a:ext uri="{FF2B5EF4-FFF2-40B4-BE49-F238E27FC236}">
                  <a16:creationId xmlns:a16="http://schemas.microsoft.com/office/drawing/2014/main" id="{858A5789-5230-0012-CCC5-B3539BA876A0}"/>
                </a:ext>
              </a:extLst>
            </p:cNvPr>
            <p:cNvSpPr/>
            <p:nvPr/>
          </p:nvSpPr>
          <p:spPr>
            <a:xfrm>
              <a:off x="9592897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7" name="Freeform: Shape 416">
              <a:extLst>
                <a:ext uri="{FF2B5EF4-FFF2-40B4-BE49-F238E27FC236}">
                  <a16:creationId xmlns:a16="http://schemas.microsoft.com/office/drawing/2014/main" id="{7DAC0BE1-873E-DEEE-B9E2-E643C620D19E}"/>
                </a:ext>
              </a:extLst>
            </p:cNvPr>
            <p:cNvSpPr/>
            <p:nvPr/>
          </p:nvSpPr>
          <p:spPr>
            <a:xfrm>
              <a:off x="9538033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8" name="Freeform: Shape 417">
              <a:extLst>
                <a:ext uri="{FF2B5EF4-FFF2-40B4-BE49-F238E27FC236}">
                  <a16:creationId xmlns:a16="http://schemas.microsoft.com/office/drawing/2014/main" id="{9A2EB0B4-8B3C-5964-7CBC-21DD0331F554}"/>
                </a:ext>
              </a:extLst>
            </p:cNvPr>
            <p:cNvSpPr/>
            <p:nvPr/>
          </p:nvSpPr>
          <p:spPr>
            <a:xfrm>
              <a:off x="9592897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9" name="Freeform: Shape 418">
              <a:extLst>
                <a:ext uri="{FF2B5EF4-FFF2-40B4-BE49-F238E27FC236}">
                  <a16:creationId xmlns:a16="http://schemas.microsoft.com/office/drawing/2014/main" id="{1BD840BD-00BE-0DF0-8936-8896793467E4}"/>
                </a:ext>
              </a:extLst>
            </p:cNvPr>
            <p:cNvSpPr/>
            <p:nvPr/>
          </p:nvSpPr>
          <p:spPr>
            <a:xfrm>
              <a:off x="9543748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0" name="Freeform: Shape 419">
              <a:extLst>
                <a:ext uri="{FF2B5EF4-FFF2-40B4-BE49-F238E27FC236}">
                  <a16:creationId xmlns:a16="http://schemas.microsoft.com/office/drawing/2014/main" id="{67FD89CC-3506-AAEF-6D79-0DE94ECDFBD0}"/>
                </a:ext>
              </a:extLst>
            </p:cNvPr>
            <p:cNvSpPr/>
            <p:nvPr/>
          </p:nvSpPr>
          <p:spPr>
            <a:xfrm>
              <a:off x="959975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1" name="Freeform: Shape 420">
              <a:extLst>
                <a:ext uri="{FF2B5EF4-FFF2-40B4-BE49-F238E27FC236}">
                  <a16:creationId xmlns:a16="http://schemas.microsoft.com/office/drawing/2014/main" id="{C5048E05-7928-9932-52CF-E99E4C247823}"/>
                </a:ext>
              </a:extLst>
            </p:cNvPr>
            <p:cNvSpPr/>
            <p:nvPr/>
          </p:nvSpPr>
          <p:spPr>
            <a:xfrm>
              <a:off x="9549463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2" name="Freeform: Shape 421">
              <a:extLst>
                <a:ext uri="{FF2B5EF4-FFF2-40B4-BE49-F238E27FC236}">
                  <a16:creationId xmlns:a16="http://schemas.microsoft.com/office/drawing/2014/main" id="{0BC14EE5-54BE-E8AB-58E9-DB1DE87DB61A}"/>
                </a:ext>
              </a:extLst>
            </p:cNvPr>
            <p:cNvSpPr/>
            <p:nvPr/>
          </p:nvSpPr>
          <p:spPr>
            <a:xfrm>
              <a:off x="9605470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3" name="Freeform: Shape 422">
              <a:extLst>
                <a:ext uri="{FF2B5EF4-FFF2-40B4-BE49-F238E27FC236}">
                  <a16:creationId xmlns:a16="http://schemas.microsoft.com/office/drawing/2014/main" id="{8944175D-1305-172D-4496-EF757A6652B2}"/>
                </a:ext>
              </a:extLst>
            </p:cNvPr>
            <p:cNvSpPr/>
            <p:nvPr/>
          </p:nvSpPr>
          <p:spPr>
            <a:xfrm>
              <a:off x="9555178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4" name="Freeform: Shape 423">
              <a:extLst>
                <a:ext uri="{FF2B5EF4-FFF2-40B4-BE49-F238E27FC236}">
                  <a16:creationId xmlns:a16="http://schemas.microsoft.com/office/drawing/2014/main" id="{186CD9A7-38EB-1F1C-CF00-A835A92248E3}"/>
                </a:ext>
              </a:extLst>
            </p:cNvPr>
            <p:cNvSpPr/>
            <p:nvPr/>
          </p:nvSpPr>
          <p:spPr>
            <a:xfrm>
              <a:off x="961118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5" name="Freeform: Shape 424">
              <a:extLst>
                <a:ext uri="{FF2B5EF4-FFF2-40B4-BE49-F238E27FC236}">
                  <a16:creationId xmlns:a16="http://schemas.microsoft.com/office/drawing/2014/main" id="{7117648A-52D2-F438-784F-8C9447E09460}"/>
                </a:ext>
              </a:extLst>
            </p:cNvPr>
            <p:cNvSpPr/>
            <p:nvPr/>
          </p:nvSpPr>
          <p:spPr>
            <a:xfrm>
              <a:off x="9555178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6" name="Freeform: Shape 425">
              <a:extLst>
                <a:ext uri="{FF2B5EF4-FFF2-40B4-BE49-F238E27FC236}">
                  <a16:creationId xmlns:a16="http://schemas.microsoft.com/office/drawing/2014/main" id="{EB46FE27-80EC-C818-0ACE-EE637A0DB97B}"/>
                </a:ext>
              </a:extLst>
            </p:cNvPr>
            <p:cNvSpPr/>
            <p:nvPr/>
          </p:nvSpPr>
          <p:spPr>
            <a:xfrm>
              <a:off x="961118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7" name="Freeform: Shape 426">
              <a:extLst>
                <a:ext uri="{FF2B5EF4-FFF2-40B4-BE49-F238E27FC236}">
                  <a16:creationId xmlns:a16="http://schemas.microsoft.com/office/drawing/2014/main" id="{3343D4C0-C0AB-CAAE-9AD9-EFBA3BD7217D}"/>
                </a:ext>
              </a:extLst>
            </p:cNvPr>
            <p:cNvSpPr/>
            <p:nvPr/>
          </p:nvSpPr>
          <p:spPr>
            <a:xfrm>
              <a:off x="9560893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8" name="Freeform: Shape 427">
              <a:extLst>
                <a:ext uri="{FF2B5EF4-FFF2-40B4-BE49-F238E27FC236}">
                  <a16:creationId xmlns:a16="http://schemas.microsoft.com/office/drawing/2014/main" id="{DCD4A0F9-15AC-49F4-CE05-44244CAAA689}"/>
                </a:ext>
              </a:extLst>
            </p:cNvPr>
            <p:cNvSpPr/>
            <p:nvPr/>
          </p:nvSpPr>
          <p:spPr>
            <a:xfrm>
              <a:off x="9616900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9" name="Freeform: Shape 428">
              <a:extLst>
                <a:ext uri="{FF2B5EF4-FFF2-40B4-BE49-F238E27FC236}">
                  <a16:creationId xmlns:a16="http://schemas.microsoft.com/office/drawing/2014/main" id="{9474AA0A-519D-2C76-8C35-F15B8C6CD745}"/>
                </a:ext>
              </a:extLst>
            </p:cNvPr>
            <p:cNvSpPr/>
            <p:nvPr/>
          </p:nvSpPr>
          <p:spPr>
            <a:xfrm>
              <a:off x="9614614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0" name="Freeform: Shape 429">
              <a:extLst>
                <a:ext uri="{FF2B5EF4-FFF2-40B4-BE49-F238E27FC236}">
                  <a16:creationId xmlns:a16="http://schemas.microsoft.com/office/drawing/2014/main" id="{8D855EDB-DFEA-AFC9-6FB0-1C41206585CB}"/>
                </a:ext>
              </a:extLst>
            </p:cNvPr>
            <p:cNvSpPr/>
            <p:nvPr/>
          </p:nvSpPr>
          <p:spPr>
            <a:xfrm>
              <a:off x="9670621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1" name="Freeform: Shape 430">
              <a:extLst>
                <a:ext uri="{FF2B5EF4-FFF2-40B4-BE49-F238E27FC236}">
                  <a16:creationId xmlns:a16="http://schemas.microsoft.com/office/drawing/2014/main" id="{0B74D778-F310-0A90-F5E9-FEF0703BA13F}"/>
                </a:ext>
              </a:extLst>
            </p:cNvPr>
            <p:cNvSpPr/>
            <p:nvPr/>
          </p:nvSpPr>
          <p:spPr>
            <a:xfrm>
              <a:off x="9655762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2" name="Freeform: Shape 431">
              <a:extLst>
                <a:ext uri="{FF2B5EF4-FFF2-40B4-BE49-F238E27FC236}">
                  <a16:creationId xmlns:a16="http://schemas.microsoft.com/office/drawing/2014/main" id="{41D8BE3B-22B6-8198-B599-B71E8BD47671}"/>
                </a:ext>
              </a:extLst>
            </p:cNvPr>
            <p:cNvSpPr/>
            <p:nvPr/>
          </p:nvSpPr>
          <p:spPr>
            <a:xfrm>
              <a:off x="9711769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3" name="Freeform: Shape 432">
              <a:extLst>
                <a:ext uri="{FF2B5EF4-FFF2-40B4-BE49-F238E27FC236}">
                  <a16:creationId xmlns:a16="http://schemas.microsoft.com/office/drawing/2014/main" id="{933AAF75-28D8-00D3-461E-678E2EC50AC1}"/>
                </a:ext>
              </a:extLst>
            </p:cNvPr>
            <p:cNvSpPr/>
            <p:nvPr/>
          </p:nvSpPr>
          <p:spPr>
            <a:xfrm>
              <a:off x="9661477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4" name="Freeform: Shape 433">
              <a:extLst>
                <a:ext uri="{FF2B5EF4-FFF2-40B4-BE49-F238E27FC236}">
                  <a16:creationId xmlns:a16="http://schemas.microsoft.com/office/drawing/2014/main" id="{729E4556-3124-8544-575C-4062E8A45FE2}"/>
                </a:ext>
              </a:extLst>
            </p:cNvPr>
            <p:cNvSpPr/>
            <p:nvPr/>
          </p:nvSpPr>
          <p:spPr>
            <a:xfrm>
              <a:off x="9717484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5" name="Freeform: Shape 434">
              <a:extLst>
                <a:ext uri="{FF2B5EF4-FFF2-40B4-BE49-F238E27FC236}">
                  <a16:creationId xmlns:a16="http://schemas.microsoft.com/office/drawing/2014/main" id="{AC6D59F6-5460-B870-810E-0DC541E622D9}"/>
                </a:ext>
              </a:extLst>
            </p:cNvPr>
            <p:cNvSpPr/>
            <p:nvPr/>
          </p:nvSpPr>
          <p:spPr>
            <a:xfrm>
              <a:off x="9661477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6" name="Freeform: Shape 435">
              <a:extLst>
                <a:ext uri="{FF2B5EF4-FFF2-40B4-BE49-F238E27FC236}">
                  <a16:creationId xmlns:a16="http://schemas.microsoft.com/office/drawing/2014/main" id="{B0E8CD01-DC40-D5AA-5B7D-0084A845C697}"/>
                </a:ext>
              </a:extLst>
            </p:cNvPr>
            <p:cNvSpPr/>
            <p:nvPr/>
          </p:nvSpPr>
          <p:spPr>
            <a:xfrm>
              <a:off x="9717484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7" name="Freeform: Shape 436">
              <a:extLst>
                <a:ext uri="{FF2B5EF4-FFF2-40B4-BE49-F238E27FC236}">
                  <a16:creationId xmlns:a16="http://schemas.microsoft.com/office/drawing/2014/main" id="{C3D8E095-671C-234F-1641-0A8E8680A0E7}"/>
                </a:ext>
              </a:extLst>
            </p:cNvPr>
            <p:cNvSpPr/>
            <p:nvPr/>
          </p:nvSpPr>
          <p:spPr>
            <a:xfrm>
              <a:off x="9667192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8" name="Freeform: Shape 437">
              <a:extLst>
                <a:ext uri="{FF2B5EF4-FFF2-40B4-BE49-F238E27FC236}">
                  <a16:creationId xmlns:a16="http://schemas.microsoft.com/office/drawing/2014/main" id="{07B4E7D1-0A31-2F92-665A-547E8B32FFD9}"/>
                </a:ext>
              </a:extLst>
            </p:cNvPr>
            <p:cNvSpPr/>
            <p:nvPr/>
          </p:nvSpPr>
          <p:spPr>
            <a:xfrm>
              <a:off x="9723199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9" name="Freeform: Shape 438">
              <a:extLst>
                <a:ext uri="{FF2B5EF4-FFF2-40B4-BE49-F238E27FC236}">
                  <a16:creationId xmlns:a16="http://schemas.microsoft.com/office/drawing/2014/main" id="{D7A17919-1AB3-008F-5F3E-61B688CFF815}"/>
                </a:ext>
              </a:extLst>
            </p:cNvPr>
            <p:cNvSpPr/>
            <p:nvPr/>
          </p:nvSpPr>
          <p:spPr>
            <a:xfrm>
              <a:off x="9667192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0" name="Freeform: Shape 439">
              <a:extLst>
                <a:ext uri="{FF2B5EF4-FFF2-40B4-BE49-F238E27FC236}">
                  <a16:creationId xmlns:a16="http://schemas.microsoft.com/office/drawing/2014/main" id="{07D6AB1B-0028-FA05-E78B-1F0BEB1F12C3}"/>
                </a:ext>
              </a:extLst>
            </p:cNvPr>
            <p:cNvSpPr/>
            <p:nvPr/>
          </p:nvSpPr>
          <p:spPr>
            <a:xfrm>
              <a:off x="9723199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1" name="Freeform: Shape 440">
              <a:extLst>
                <a:ext uri="{FF2B5EF4-FFF2-40B4-BE49-F238E27FC236}">
                  <a16:creationId xmlns:a16="http://schemas.microsoft.com/office/drawing/2014/main" id="{386B2471-6D1B-290A-9A4D-CBC54C33BDFA}"/>
                </a:ext>
              </a:extLst>
            </p:cNvPr>
            <p:cNvSpPr/>
            <p:nvPr/>
          </p:nvSpPr>
          <p:spPr>
            <a:xfrm>
              <a:off x="9672907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2" name="Freeform: Shape 441">
              <a:extLst>
                <a:ext uri="{FF2B5EF4-FFF2-40B4-BE49-F238E27FC236}">
                  <a16:creationId xmlns:a16="http://schemas.microsoft.com/office/drawing/2014/main" id="{BFFFCA0D-36D6-A1EC-F74D-B3D2C4FF24B8}"/>
                </a:ext>
              </a:extLst>
            </p:cNvPr>
            <p:cNvSpPr/>
            <p:nvPr/>
          </p:nvSpPr>
          <p:spPr>
            <a:xfrm>
              <a:off x="9728914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3" name="Freeform: Shape 442">
              <a:extLst>
                <a:ext uri="{FF2B5EF4-FFF2-40B4-BE49-F238E27FC236}">
                  <a16:creationId xmlns:a16="http://schemas.microsoft.com/office/drawing/2014/main" id="{8256957F-0640-CBF8-BAD7-F5970B7430D7}"/>
                </a:ext>
              </a:extLst>
            </p:cNvPr>
            <p:cNvSpPr/>
            <p:nvPr/>
          </p:nvSpPr>
          <p:spPr>
            <a:xfrm>
              <a:off x="9679765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4" name="Freeform: Shape 443">
              <a:extLst>
                <a:ext uri="{FF2B5EF4-FFF2-40B4-BE49-F238E27FC236}">
                  <a16:creationId xmlns:a16="http://schemas.microsoft.com/office/drawing/2014/main" id="{9140596E-F1A9-F45A-FF3E-7128ACC79F28}"/>
                </a:ext>
              </a:extLst>
            </p:cNvPr>
            <p:cNvSpPr/>
            <p:nvPr/>
          </p:nvSpPr>
          <p:spPr>
            <a:xfrm>
              <a:off x="9735772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5" name="Freeform: Shape 444">
              <a:extLst>
                <a:ext uri="{FF2B5EF4-FFF2-40B4-BE49-F238E27FC236}">
                  <a16:creationId xmlns:a16="http://schemas.microsoft.com/office/drawing/2014/main" id="{D45F2DFC-0085-9777-70DE-0F092C553776}"/>
                </a:ext>
              </a:extLst>
            </p:cNvPr>
            <p:cNvSpPr/>
            <p:nvPr/>
          </p:nvSpPr>
          <p:spPr>
            <a:xfrm>
              <a:off x="9696910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6" name="Freeform: Shape 445">
              <a:extLst>
                <a:ext uri="{FF2B5EF4-FFF2-40B4-BE49-F238E27FC236}">
                  <a16:creationId xmlns:a16="http://schemas.microsoft.com/office/drawing/2014/main" id="{67662579-88EA-A8B0-A966-2EC3ECDC88AC}"/>
                </a:ext>
              </a:extLst>
            </p:cNvPr>
            <p:cNvSpPr/>
            <p:nvPr/>
          </p:nvSpPr>
          <p:spPr>
            <a:xfrm>
              <a:off x="9752917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7" name="Freeform: Shape 446">
              <a:extLst>
                <a:ext uri="{FF2B5EF4-FFF2-40B4-BE49-F238E27FC236}">
                  <a16:creationId xmlns:a16="http://schemas.microsoft.com/office/drawing/2014/main" id="{C3F991B3-5465-0727-C6E3-18CF0983187A}"/>
                </a:ext>
              </a:extLst>
            </p:cNvPr>
            <p:cNvSpPr/>
            <p:nvPr/>
          </p:nvSpPr>
          <p:spPr>
            <a:xfrm>
              <a:off x="9726628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8" name="Freeform: Shape 447">
              <a:extLst>
                <a:ext uri="{FF2B5EF4-FFF2-40B4-BE49-F238E27FC236}">
                  <a16:creationId xmlns:a16="http://schemas.microsoft.com/office/drawing/2014/main" id="{B75B07D3-A10D-DA83-6932-E49CF3ED161A}"/>
                </a:ext>
              </a:extLst>
            </p:cNvPr>
            <p:cNvSpPr/>
            <p:nvPr/>
          </p:nvSpPr>
          <p:spPr>
            <a:xfrm>
              <a:off x="978263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9" name="Freeform: Shape 448">
              <a:extLst>
                <a:ext uri="{FF2B5EF4-FFF2-40B4-BE49-F238E27FC236}">
                  <a16:creationId xmlns:a16="http://schemas.microsoft.com/office/drawing/2014/main" id="{CCBA397B-8F31-C6D8-BF15-C5DF60CF435A}"/>
                </a:ext>
              </a:extLst>
            </p:cNvPr>
            <p:cNvSpPr/>
            <p:nvPr/>
          </p:nvSpPr>
          <p:spPr>
            <a:xfrm>
              <a:off x="9779206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0" name="Freeform: Shape 449">
              <a:extLst>
                <a:ext uri="{FF2B5EF4-FFF2-40B4-BE49-F238E27FC236}">
                  <a16:creationId xmlns:a16="http://schemas.microsoft.com/office/drawing/2014/main" id="{8E9EC8AB-4A73-CAB8-DB95-B64F3C55328B}"/>
                </a:ext>
              </a:extLst>
            </p:cNvPr>
            <p:cNvSpPr/>
            <p:nvPr/>
          </p:nvSpPr>
          <p:spPr>
            <a:xfrm>
              <a:off x="9835213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1" name="Freeform: Shape 450">
              <a:extLst>
                <a:ext uri="{FF2B5EF4-FFF2-40B4-BE49-F238E27FC236}">
                  <a16:creationId xmlns:a16="http://schemas.microsoft.com/office/drawing/2014/main" id="{144FBDA3-B0B3-51BB-E7F9-4D739D057DD6}"/>
                </a:ext>
              </a:extLst>
            </p:cNvPr>
            <p:cNvSpPr/>
            <p:nvPr/>
          </p:nvSpPr>
          <p:spPr>
            <a:xfrm>
              <a:off x="9786064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2" name="Freeform: Shape 451">
              <a:extLst>
                <a:ext uri="{FF2B5EF4-FFF2-40B4-BE49-F238E27FC236}">
                  <a16:creationId xmlns:a16="http://schemas.microsoft.com/office/drawing/2014/main" id="{4EA76D2D-8280-F7DC-B02D-EA022989A94B}"/>
                </a:ext>
              </a:extLst>
            </p:cNvPr>
            <p:cNvSpPr/>
            <p:nvPr/>
          </p:nvSpPr>
          <p:spPr>
            <a:xfrm>
              <a:off x="9840928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3" name="Freeform: Shape 452">
              <a:extLst>
                <a:ext uri="{FF2B5EF4-FFF2-40B4-BE49-F238E27FC236}">
                  <a16:creationId xmlns:a16="http://schemas.microsoft.com/office/drawing/2014/main" id="{620B1FA9-D434-6264-3454-55946AD2FC1F}"/>
                </a:ext>
              </a:extLst>
            </p:cNvPr>
            <p:cNvSpPr/>
            <p:nvPr/>
          </p:nvSpPr>
          <p:spPr>
            <a:xfrm>
              <a:off x="9786064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4" name="Freeform: Shape 453">
              <a:extLst>
                <a:ext uri="{FF2B5EF4-FFF2-40B4-BE49-F238E27FC236}">
                  <a16:creationId xmlns:a16="http://schemas.microsoft.com/office/drawing/2014/main" id="{73C27B60-FD6E-EFDE-A8B0-DE6A519E5AFA}"/>
                </a:ext>
              </a:extLst>
            </p:cNvPr>
            <p:cNvSpPr/>
            <p:nvPr/>
          </p:nvSpPr>
          <p:spPr>
            <a:xfrm>
              <a:off x="9840928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5" name="Freeform: Shape 454">
              <a:extLst>
                <a:ext uri="{FF2B5EF4-FFF2-40B4-BE49-F238E27FC236}">
                  <a16:creationId xmlns:a16="http://schemas.microsoft.com/office/drawing/2014/main" id="{84739A5E-00D9-12F6-DFF4-438A2C9D8B62}"/>
                </a:ext>
              </a:extLst>
            </p:cNvPr>
            <p:cNvSpPr/>
            <p:nvPr/>
          </p:nvSpPr>
          <p:spPr>
            <a:xfrm>
              <a:off x="9791779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6" name="Freeform: Shape 455">
              <a:extLst>
                <a:ext uri="{FF2B5EF4-FFF2-40B4-BE49-F238E27FC236}">
                  <a16:creationId xmlns:a16="http://schemas.microsoft.com/office/drawing/2014/main" id="{4CF67DCF-803F-5196-E606-DA62F4335C86}"/>
                </a:ext>
              </a:extLst>
            </p:cNvPr>
            <p:cNvSpPr/>
            <p:nvPr/>
          </p:nvSpPr>
          <p:spPr>
            <a:xfrm>
              <a:off x="9847786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7" name="Freeform: Shape 456">
              <a:extLst>
                <a:ext uri="{FF2B5EF4-FFF2-40B4-BE49-F238E27FC236}">
                  <a16:creationId xmlns:a16="http://schemas.microsoft.com/office/drawing/2014/main" id="{C7956F0F-A43D-D1FA-BE3B-D7A6B6D411E6}"/>
                </a:ext>
              </a:extLst>
            </p:cNvPr>
            <p:cNvSpPr/>
            <p:nvPr/>
          </p:nvSpPr>
          <p:spPr>
            <a:xfrm>
              <a:off x="9791779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8" name="Freeform: Shape 457">
              <a:extLst>
                <a:ext uri="{FF2B5EF4-FFF2-40B4-BE49-F238E27FC236}">
                  <a16:creationId xmlns:a16="http://schemas.microsoft.com/office/drawing/2014/main" id="{BBA03631-9807-286E-4148-B9F75EB05285}"/>
                </a:ext>
              </a:extLst>
            </p:cNvPr>
            <p:cNvSpPr/>
            <p:nvPr/>
          </p:nvSpPr>
          <p:spPr>
            <a:xfrm>
              <a:off x="9847786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9" name="Freeform: Shape 458">
              <a:extLst>
                <a:ext uri="{FF2B5EF4-FFF2-40B4-BE49-F238E27FC236}">
                  <a16:creationId xmlns:a16="http://schemas.microsoft.com/office/drawing/2014/main" id="{8920FABF-9073-40E1-4E0A-B9CFB92467D5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0" name="Freeform: Shape 459">
              <a:extLst>
                <a:ext uri="{FF2B5EF4-FFF2-40B4-BE49-F238E27FC236}">
                  <a16:creationId xmlns:a16="http://schemas.microsoft.com/office/drawing/2014/main" id="{A03AA2B4-1321-E4E8-BE61-1AD80645A33E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1" name="Freeform: Shape 460">
              <a:extLst>
                <a:ext uri="{FF2B5EF4-FFF2-40B4-BE49-F238E27FC236}">
                  <a16:creationId xmlns:a16="http://schemas.microsoft.com/office/drawing/2014/main" id="{6FEA264D-5EDE-AE11-38C0-C2A71F8745D5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2" name="Freeform: Shape 461">
              <a:extLst>
                <a:ext uri="{FF2B5EF4-FFF2-40B4-BE49-F238E27FC236}">
                  <a16:creationId xmlns:a16="http://schemas.microsoft.com/office/drawing/2014/main" id="{4FC06D00-0D19-71E9-9266-E729FE1C86EA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3" name="Freeform: Shape 462">
              <a:extLst>
                <a:ext uri="{FF2B5EF4-FFF2-40B4-BE49-F238E27FC236}">
                  <a16:creationId xmlns:a16="http://schemas.microsoft.com/office/drawing/2014/main" id="{5EE8A799-5226-78DE-BBC9-B3674A091374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4" name="Freeform: Shape 463">
              <a:extLst>
                <a:ext uri="{FF2B5EF4-FFF2-40B4-BE49-F238E27FC236}">
                  <a16:creationId xmlns:a16="http://schemas.microsoft.com/office/drawing/2014/main" id="{5F811254-8B51-AC92-0404-9A633CF30186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5" name="Freeform: Shape 464">
              <a:extLst>
                <a:ext uri="{FF2B5EF4-FFF2-40B4-BE49-F238E27FC236}">
                  <a16:creationId xmlns:a16="http://schemas.microsoft.com/office/drawing/2014/main" id="{BD83F7B4-2DF0-E114-32B0-BF413C76A346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6" name="Freeform: Shape 465">
              <a:extLst>
                <a:ext uri="{FF2B5EF4-FFF2-40B4-BE49-F238E27FC236}">
                  <a16:creationId xmlns:a16="http://schemas.microsoft.com/office/drawing/2014/main" id="{92522E6F-D6D9-E9B4-FAC3-37828AFCFCD4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7" name="Freeform: Shape 466">
              <a:extLst>
                <a:ext uri="{FF2B5EF4-FFF2-40B4-BE49-F238E27FC236}">
                  <a16:creationId xmlns:a16="http://schemas.microsoft.com/office/drawing/2014/main" id="{32B075CC-4C47-2B36-761C-42F6457A61E9}"/>
                </a:ext>
              </a:extLst>
            </p:cNvPr>
            <p:cNvSpPr/>
            <p:nvPr/>
          </p:nvSpPr>
          <p:spPr>
            <a:xfrm>
              <a:off x="9820354" y="-159811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8" name="Freeform: Shape 467">
              <a:extLst>
                <a:ext uri="{FF2B5EF4-FFF2-40B4-BE49-F238E27FC236}">
                  <a16:creationId xmlns:a16="http://schemas.microsoft.com/office/drawing/2014/main" id="{6E2FE1DF-FA01-1CD1-A5EE-65C2C8D1A657}"/>
                </a:ext>
              </a:extLst>
            </p:cNvPr>
            <p:cNvSpPr/>
            <p:nvPr/>
          </p:nvSpPr>
          <p:spPr>
            <a:xfrm>
              <a:off x="9876361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9" name="Freeform: Shape 468">
              <a:extLst>
                <a:ext uri="{FF2B5EF4-FFF2-40B4-BE49-F238E27FC236}">
                  <a16:creationId xmlns:a16="http://schemas.microsoft.com/office/drawing/2014/main" id="{DBC259A6-7AD0-1DE0-7EEE-055282FCB88A}"/>
                </a:ext>
              </a:extLst>
            </p:cNvPr>
            <p:cNvSpPr/>
            <p:nvPr/>
          </p:nvSpPr>
          <p:spPr>
            <a:xfrm>
              <a:off x="9832927" y="-159811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0" name="Freeform: Shape 469">
              <a:extLst>
                <a:ext uri="{FF2B5EF4-FFF2-40B4-BE49-F238E27FC236}">
                  <a16:creationId xmlns:a16="http://schemas.microsoft.com/office/drawing/2014/main" id="{D9B60020-C545-DE36-B5B8-29BDC20378FF}"/>
                </a:ext>
              </a:extLst>
            </p:cNvPr>
            <p:cNvSpPr/>
            <p:nvPr/>
          </p:nvSpPr>
          <p:spPr>
            <a:xfrm>
              <a:off x="9888934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1" name="Freeform: Shape 470">
              <a:extLst>
                <a:ext uri="{FF2B5EF4-FFF2-40B4-BE49-F238E27FC236}">
                  <a16:creationId xmlns:a16="http://schemas.microsoft.com/office/drawing/2014/main" id="{BE7ECC67-5529-4888-E832-C2E722399CB2}"/>
                </a:ext>
              </a:extLst>
            </p:cNvPr>
            <p:cNvSpPr/>
            <p:nvPr/>
          </p:nvSpPr>
          <p:spPr>
            <a:xfrm>
              <a:off x="9891220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2" name="Freeform: Shape 471">
              <a:extLst>
                <a:ext uri="{FF2B5EF4-FFF2-40B4-BE49-F238E27FC236}">
                  <a16:creationId xmlns:a16="http://schemas.microsoft.com/office/drawing/2014/main" id="{A4411C32-8D1A-4851-398D-0C645F0513D7}"/>
                </a:ext>
              </a:extLst>
            </p:cNvPr>
            <p:cNvSpPr/>
            <p:nvPr/>
          </p:nvSpPr>
          <p:spPr>
            <a:xfrm>
              <a:off x="9947227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3" name="Freeform: Shape 472">
              <a:extLst>
                <a:ext uri="{FF2B5EF4-FFF2-40B4-BE49-F238E27FC236}">
                  <a16:creationId xmlns:a16="http://schemas.microsoft.com/office/drawing/2014/main" id="{F472FE35-6F57-FB5D-3EC8-130B182EADD0}"/>
                </a:ext>
              </a:extLst>
            </p:cNvPr>
            <p:cNvSpPr/>
            <p:nvPr/>
          </p:nvSpPr>
          <p:spPr>
            <a:xfrm>
              <a:off x="990950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4" name="Freeform: Shape 473">
              <a:extLst>
                <a:ext uri="{FF2B5EF4-FFF2-40B4-BE49-F238E27FC236}">
                  <a16:creationId xmlns:a16="http://schemas.microsoft.com/office/drawing/2014/main" id="{A4228377-11CE-1DBC-0E8F-0A9AFDF3F674}"/>
                </a:ext>
              </a:extLst>
            </p:cNvPr>
            <p:cNvSpPr/>
            <p:nvPr/>
          </p:nvSpPr>
          <p:spPr>
            <a:xfrm>
              <a:off x="996551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5" name="Freeform: Shape 474">
              <a:extLst>
                <a:ext uri="{FF2B5EF4-FFF2-40B4-BE49-F238E27FC236}">
                  <a16:creationId xmlns:a16="http://schemas.microsoft.com/office/drawing/2014/main" id="{CE04FA4D-7386-F004-4160-B10021D99C4D}"/>
                </a:ext>
              </a:extLst>
            </p:cNvPr>
            <p:cNvSpPr/>
            <p:nvPr/>
          </p:nvSpPr>
          <p:spPr>
            <a:xfrm>
              <a:off x="990950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6" name="Freeform: Shape 475">
              <a:extLst>
                <a:ext uri="{FF2B5EF4-FFF2-40B4-BE49-F238E27FC236}">
                  <a16:creationId xmlns:a16="http://schemas.microsoft.com/office/drawing/2014/main" id="{8A66D9BC-FEDC-672F-9EAB-9F90D07C150F}"/>
                </a:ext>
              </a:extLst>
            </p:cNvPr>
            <p:cNvSpPr/>
            <p:nvPr/>
          </p:nvSpPr>
          <p:spPr>
            <a:xfrm>
              <a:off x="996551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7" name="Freeform: Shape 476">
              <a:extLst>
                <a:ext uri="{FF2B5EF4-FFF2-40B4-BE49-F238E27FC236}">
                  <a16:creationId xmlns:a16="http://schemas.microsoft.com/office/drawing/2014/main" id="{3604A9D2-8EF8-07B6-9A87-D1A61F340CBA}"/>
                </a:ext>
              </a:extLst>
            </p:cNvPr>
            <p:cNvSpPr/>
            <p:nvPr/>
          </p:nvSpPr>
          <p:spPr>
            <a:xfrm>
              <a:off x="9915223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8" name="Freeform: Shape 477">
              <a:extLst>
                <a:ext uri="{FF2B5EF4-FFF2-40B4-BE49-F238E27FC236}">
                  <a16:creationId xmlns:a16="http://schemas.microsoft.com/office/drawing/2014/main" id="{564A448F-A263-8F25-AFAF-0879B8025524}"/>
                </a:ext>
              </a:extLst>
            </p:cNvPr>
            <p:cNvSpPr/>
            <p:nvPr/>
          </p:nvSpPr>
          <p:spPr>
            <a:xfrm>
              <a:off x="9971230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9" name="Freeform: Shape 478">
              <a:extLst>
                <a:ext uri="{FF2B5EF4-FFF2-40B4-BE49-F238E27FC236}">
                  <a16:creationId xmlns:a16="http://schemas.microsoft.com/office/drawing/2014/main" id="{A1EECE62-65B4-081F-C09A-8C18397840D0}"/>
                </a:ext>
              </a:extLst>
            </p:cNvPr>
            <p:cNvSpPr/>
            <p:nvPr/>
          </p:nvSpPr>
          <p:spPr>
            <a:xfrm>
              <a:off x="992093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0" name="Freeform: Shape 479">
              <a:extLst>
                <a:ext uri="{FF2B5EF4-FFF2-40B4-BE49-F238E27FC236}">
                  <a16:creationId xmlns:a16="http://schemas.microsoft.com/office/drawing/2014/main" id="{29318668-673F-B076-A428-3EC5BA3E52A2}"/>
                </a:ext>
              </a:extLst>
            </p:cNvPr>
            <p:cNvSpPr/>
            <p:nvPr/>
          </p:nvSpPr>
          <p:spPr>
            <a:xfrm>
              <a:off x="997694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1" name="Freeform: Shape 480">
              <a:extLst>
                <a:ext uri="{FF2B5EF4-FFF2-40B4-BE49-F238E27FC236}">
                  <a16:creationId xmlns:a16="http://schemas.microsoft.com/office/drawing/2014/main" id="{215E0CD6-B282-0107-D532-B85CA3EC65C3}"/>
                </a:ext>
              </a:extLst>
            </p:cNvPr>
            <p:cNvSpPr/>
            <p:nvPr/>
          </p:nvSpPr>
          <p:spPr>
            <a:xfrm>
              <a:off x="992093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2" name="Freeform: Shape 481">
              <a:extLst>
                <a:ext uri="{FF2B5EF4-FFF2-40B4-BE49-F238E27FC236}">
                  <a16:creationId xmlns:a16="http://schemas.microsoft.com/office/drawing/2014/main" id="{CC351AB8-AACE-5E07-8BC3-0517BEC208B4}"/>
                </a:ext>
              </a:extLst>
            </p:cNvPr>
            <p:cNvSpPr/>
            <p:nvPr/>
          </p:nvSpPr>
          <p:spPr>
            <a:xfrm>
              <a:off x="997694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3" name="Freeform: Shape 482">
              <a:extLst>
                <a:ext uri="{FF2B5EF4-FFF2-40B4-BE49-F238E27FC236}">
                  <a16:creationId xmlns:a16="http://schemas.microsoft.com/office/drawing/2014/main" id="{0FCB509C-25C2-6C53-908E-BD69D2371664}"/>
                </a:ext>
              </a:extLst>
            </p:cNvPr>
            <p:cNvSpPr/>
            <p:nvPr/>
          </p:nvSpPr>
          <p:spPr>
            <a:xfrm>
              <a:off x="992093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4" name="Freeform: Shape 483">
              <a:extLst>
                <a:ext uri="{FF2B5EF4-FFF2-40B4-BE49-F238E27FC236}">
                  <a16:creationId xmlns:a16="http://schemas.microsoft.com/office/drawing/2014/main" id="{E8E9362B-AA36-1FCD-9357-0B88A2F4E677}"/>
                </a:ext>
              </a:extLst>
            </p:cNvPr>
            <p:cNvSpPr/>
            <p:nvPr/>
          </p:nvSpPr>
          <p:spPr>
            <a:xfrm>
              <a:off x="997694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5" name="Freeform: Shape 484">
              <a:extLst>
                <a:ext uri="{FF2B5EF4-FFF2-40B4-BE49-F238E27FC236}">
                  <a16:creationId xmlns:a16="http://schemas.microsoft.com/office/drawing/2014/main" id="{C6B2392C-1A72-22DB-6B1E-9C7A9BFB33A3}"/>
                </a:ext>
              </a:extLst>
            </p:cNvPr>
            <p:cNvSpPr/>
            <p:nvPr/>
          </p:nvSpPr>
          <p:spPr>
            <a:xfrm>
              <a:off x="9950656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6" name="Freeform: Shape 485">
              <a:extLst>
                <a:ext uri="{FF2B5EF4-FFF2-40B4-BE49-F238E27FC236}">
                  <a16:creationId xmlns:a16="http://schemas.microsoft.com/office/drawing/2014/main" id="{DF05DDFF-4A3C-FD9D-B639-C39A4B1D5B83}"/>
                </a:ext>
              </a:extLst>
            </p:cNvPr>
            <p:cNvSpPr/>
            <p:nvPr/>
          </p:nvSpPr>
          <p:spPr>
            <a:xfrm>
              <a:off x="10006663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7" name="Freeform: Shape 486">
              <a:extLst>
                <a:ext uri="{FF2B5EF4-FFF2-40B4-BE49-F238E27FC236}">
                  <a16:creationId xmlns:a16="http://schemas.microsoft.com/office/drawing/2014/main" id="{58026642-994A-EAEC-5420-6D96AFC3B489}"/>
                </a:ext>
              </a:extLst>
            </p:cNvPr>
            <p:cNvSpPr/>
            <p:nvPr/>
          </p:nvSpPr>
          <p:spPr>
            <a:xfrm>
              <a:off x="10032952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8" name="Freeform: Shape 487">
              <a:extLst>
                <a:ext uri="{FF2B5EF4-FFF2-40B4-BE49-F238E27FC236}">
                  <a16:creationId xmlns:a16="http://schemas.microsoft.com/office/drawing/2014/main" id="{3EA5643A-4DB0-5545-5A53-B2C62D387ACF}"/>
                </a:ext>
              </a:extLst>
            </p:cNvPr>
            <p:cNvSpPr/>
            <p:nvPr/>
          </p:nvSpPr>
          <p:spPr>
            <a:xfrm>
              <a:off x="10088959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9" name="Freeform: Shape 488">
              <a:extLst>
                <a:ext uri="{FF2B5EF4-FFF2-40B4-BE49-F238E27FC236}">
                  <a16:creationId xmlns:a16="http://schemas.microsoft.com/office/drawing/2014/main" id="{EC3CE58D-EEA3-FF0E-6B6A-187BF9336EFA}"/>
                </a:ext>
              </a:extLst>
            </p:cNvPr>
            <p:cNvSpPr/>
            <p:nvPr/>
          </p:nvSpPr>
          <p:spPr>
            <a:xfrm>
              <a:off x="10039810" y="-154324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0" name="Freeform: Shape 489">
              <a:extLst>
                <a:ext uri="{FF2B5EF4-FFF2-40B4-BE49-F238E27FC236}">
                  <a16:creationId xmlns:a16="http://schemas.microsoft.com/office/drawing/2014/main" id="{BEBDB69B-C884-35CC-D573-9F456B1EE251}"/>
                </a:ext>
              </a:extLst>
            </p:cNvPr>
            <p:cNvSpPr/>
            <p:nvPr/>
          </p:nvSpPr>
          <p:spPr>
            <a:xfrm>
              <a:off x="10095817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1" name="Freeform: Shape 490">
              <a:extLst>
                <a:ext uri="{FF2B5EF4-FFF2-40B4-BE49-F238E27FC236}">
                  <a16:creationId xmlns:a16="http://schemas.microsoft.com/office/drawing/2014/main" id="{69D9C1E5-2D37-6701-155C-92910CFDC032}"/>
                </a:ext>
              </a:extLst>
            </p:cNvPr>
            <p:cNvSpPr/>
            <p:nvPr/>
          </p:nvSpPr>
          <p:spPr>
            <a:xfrm>
              <a:off x="10075243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2" name="Freeform: Shape 491">
              <a:extLst>
                <a:ext uri="{FF2B5EF4-FFF2-40B4-BE49-F238E27FC236}">
                  <a16:creationId xmlns:a16="http://schemas.microsoft.com/office/drawing/2014/main" id="{710EDF70-1F48-E392-B391-B408069FF38A}"/>
                </a:ext>
              </a:extLst>
            </p:cNvPr>
            <p:cNvSpPr/>
            <p:nvPr/>
          </p:nvSpPr>
          <p:spPr>
            <a:xfrm>
              <a:off x="10131250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3" name="Freeform: Shape 492">
              <a:extLst>
                <a:ext uri="{FF2B5EF4-FFF2-40B4-BE49-F238E27FC236}">
                  <a16:creationId xmlns:a16="http://schemas.microsoft.com/office/drawing/2014/main" id="{D02CAAA6-5C82-3E99-906C-498147FBF9F6}"/>
                </a:ext>
              </a:extLst>
            </p:cNvPr>
            <p:cNvSpPr/>
            <p:nvPr/>
          </p:nvSpPr>
          <p:spPr>
            <a:xfrm>
              <a:off x="10151824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4" name="Freeform: Shape 493">
              <a:extLst>
                <a:ext uri="{FF2B5EF4-FFF2-40B4-BE49-F238E27FC236}">
                  <a16:creationId xmlns:a16="http://schemas.microsoft.com/office/drawing/2014/main" id="{04AB2621-98C1-A22C-0435-5BD5721B466E}"/>
                </a:ext>
              </a:extLst>
            </p:cNvPr>
            <p:cNvSpPr/>
            <p:nvPr/>
          </p:nvSpPr>
          <p:spPr>
            <a:xfrm>
              <a:off x="10207831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5" name="Freeform: Shape 494">
              <a:extLst>
                <a:ext uri="{FF2B5EF4-FFF2-40B4-BE49-F238E27FC236}">
                  <a16:creationId xmlns:a16="http://schemas.microsoft.com/office/drawing/2014/main" id="{99E6A96A-4DB9-39A2-A54B-7E0A38E5A134}"/>
                </a:ext>
              </a:extLst>
            </p:cNvPr>
            <p:cNvSpPr/>
            <p:nvPr/>
          </p:nvSpPr>
          <p:spPr>
            <a:xfrm>
              <a:off x="10157539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6" name="Freeform: Shape 495">
              <a:extLst>
                <a:ext uri="{FF2B5EF4-FFF2-40B4-BE49-F238E27FC236}">
                  <a16:creationId xmlns:a16="http://schemas.microsoft.com/office/drawing/2014/main" id="{3FABD66F-10B6-7F0A-E25B-0601C03B8759}"/>
                </a:ext>
              </a:extLst>
            </p:cNvPr>
            <p:cNvSpPr/>
            <p:nvPr/>
          </p:nvSpPr>
          <p:spPr>
            <a:xfrm>
              <a:off x="10213546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7" name="Freeform: Shape 496">
              <a:extLst>
                <a:ext uri="{FF2B5EF4-FFF2-40B4-BE49-F238E27FC236}">
                  <a16:creationId xmlns:a16="http://schemas.microsoft.com/office/drawing/2014/main" id="{A1F68228-D193-579A-5F5D-C5B58BCEEC6B}"/>
                </a:ext>
              </a:extLst>
            </p:cNvPr>
            <p:cNvSpPr/>
            <p:nvPr/>
          </p:nvSpPr>
          <p:spPr>
            <a:xfrm>
              <a:off x="10157539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8" name="Freeform: Shape 497">
              <a:extLst>
                <a:ext uri="{FF2B5EF4-FFF2-40B4-BE49-F238E27FC236}">
                  <a16:creationId xmlns:a16="http://schemas.microsoft.com/office/drawing/2014/main" id="{E524F570-E0EC-17A8-48EE-0810BEF4F13F}"/>
                </a:ext>
              </a:extLst>
            </p:cNvPr>
            <p:cNvSpPr/>
            <p:nvPr/>
          </p:nvSpPr>
          <p:spPr>
            <a:xfrm>
              <a:off x="10213546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9" name="Freeform: Shape 498">
              <a:extLst>
                <a:ext uri="{FF2B5EF4-FFF2-40B4-BE49-F238E27FC236}">
                  <a16:creationId xmlns:a16="http://schemas.microsoft.com/office/drawing/2014/main" id="{BDAE35FF-7830-228D-DBC1-CAC7DB65CA66}"/>
                </a:ext>
              </a:extLst>
            </p:cNvPr>
            <p:cNvSpPr/>
            <p:nvPr/>
          </p:nvSpPr>
          <p:spPr>
            <a:xfrm>
              <a:off x="10181542" y="-154324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0" name="Freeform: Shape 499">
              <a:extLst>
                <a:ext uri="{FF2B5EF4-FFF2-40B4-BE49-F238E27FC236}">
                  <a16:creationId xmlns:a16="http://schemas.microsoft.com/office/drawing/2014/main" id="{492959E5-C3B1-EE6B-B3DD-EC509D435EEC}"/>
                </a:ext>
              </a:extLst>
            </p:cNvPr>
            <p:cNvSpPr/>
            <p:nvPr/>
          </p:nvSpPr>
          <p:spPr>
            <a:xfrm>
              <a:off x="10237549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1" name="Freeform: Shape 500">
              <a:extLst>
                <a:ext uri="{FF2B5EF4-FFF2-40B4-BE49-F238E27FC236}">
                  <a16:creationId xmlns:a16="http://schemas.microsoft.com/office/drawing/2014/main" id="{8D311432-F36B-FC79-2F63-886212860CBB}"/>
                </a:ext>
              </a:extLst>
            </p:cNvPr>
            <p:cNvSpPr/>
            <p:nvPr/>
          </p:nvSpPr>
          <p:spPr>
            <a:xfrm>
              <a:off x="10187257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2" name="Freeform: Shape 501">
              <a:extLst>
                <a:ext uri="{FF2B5EF4-FFF2-40B4-BE49-F238E27FC236}">
                  <a16:creationId xmlns:a16="http://schemas.microsoft.com/office/drawing/2014/main" id="{96A6A49D-F88A-52D3-0E54-4B84ABCCDF51}"/>
                </a:ext>
              </a:extLst>
            </p:cNvPr>
            <p:cNvSpPr/>
            <p:nvPr/>
          </p:nvSpPr>
          <p:spPr>
            <a:xfrm>
              <a:off x="10243264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3" name="Freeform: Shape 502">
              <a:extLst>
                <a:ext uri="{FF2B5EF4-FFF2-40B4-BE49-F238E27FC236}">
                  <a16:creationId xmlns:a16="http://schemas.microsoft.com/office/drawing/2014/main" id="{FCE9C825-CDEB-F3B4-9E9A-79FB5E694199}"/>
                </a:ext>
              </a:extLst>
            </p:cNvPr>
            <p:cNvSpPr/>
            <p:nvPr/>
          </p:nvSpPr>
          <p:spPr>
            <a:xfrm>
              <a:off x="10293556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4" name="Freeform: Shape 503">
              <a:extLst>
                <a:ext uri="{FF2B5EF4-FFF2-40B4-BE49-F238E27FC236}">
                  <a16:creationId xmlns:a16="http://schemas.microsoft.com/office/drawing/2014/main" id="{AD45E4D1-24F6-5EDE-3909-0CD720AC09DD}"/>
                </a:ext>
              </a:extLst>
            </p:cNvPr>
            <p:cNvSpPr/>
            <p:nvPr/>
          </p:nvSpPr>
          <p:spPr>
            <a:xfrm>
              <a:off x="10349563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5" name="Freeform: Shape 504">
              <a:extLst>
                <a:ext uri="{FF2B5EF4-FFF2-40B4-BE49-F238E27FC236}">
                  <a16:creationId xmlns:a16="http://schemas.microsoft.com/office/drawing/2014/main" id="{18A3910F-AC9A-4886-D51D-6AE1D305536D}"/>
                </a:ext>
              </a:extLst>
            </p:cNvPr>
            <p:cNvSpPr/>
            <p:nvPr/>
          </p:nvSpPr>
          <p:spPr>
            <a:xfrm>
              <a:off x="10299271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6" name="Freeform: Shape 505">
              <a:extLst>
                <a:ext uri="{FF2B5EF4-FFF2-40B4-BE49-F238E27FC236}">
                  <a16:creationId xmlns:a16="http://schemas.microsoft.com/office/drawing/2014/main" id="{3D140338-6774-D9EA-CA84-70F496593906}"/>
                </a:ext>
              </a:extLst>
            </p:cNvPr>
            <p:cNvSpPr/>
            <p:nvPr/>
          </p:nvSpPr>
          <p:spPr>
            <a:xfrm>
              <a:off x="10355278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7" name="Freeform: Shape 506">
              <a:extLst>
                <a:ext uri="{FF2B5EF4-FFF2-40B4-BE49-F238E27FC236}">
                  <a16:creationId xmlns:a16="http://schemas.microsoft.com/office/drawing/2014/main" id="{7D793428-AA53-DFFA-CFB9-A608C8ABEA42}"/>
                </a:ext>
              </a:extLst>
            </p:cNvPr>
            <p:cNvSpPr/>
            <p:nvPr/>
          </p:nvSpPr>
          <p:spPr>
            <a:xfrm>
              <a:off x="10304986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8" name="Freeform: Shape 507">
              <a:extLst>
                <a:ext uri="{FF2B5EF4-FFF2-40B4-BE49-F238E27FC236}">
                  <a16:creationId xmlns:a16="http://schemas.microsoft.com/office/drawing/2014/main" id="{1BC70416-86A3-A613-DB8D-E7A9C598803F}"/>
                </a:ext>
              </a:extLst>
            </p:cNvPr>
            <p:cNvSpPr/>
            <p:nvPr/>
          </p:nvSpPr>
          <p:spPr>
            <a:xfrm>
              <a:off x="10360993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9" name="Freeform: Shape 508">
              <a:extLst>
                <a:ext uri="{FF2B5EF4-FFF2-40B4-BE49-F238E27FC236}">
                  <a16:creationId xmlns:a16="http://schemas.microsoft.com/office/drawing/2014/main" id="{022F95A6-5C29-7911-6E97-AC887F3671E4}"/>
                </a:ext>
              </a:extLst>
            </p:cNvPr>
            <p:cNvSpPr/>
            <p:nvPr/>
          </p:nvSpPr>
          <p:spPr>
            <a:xfrm>
              <a:off x="10328989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0" name="Freeform: Shape 509">
              <a:extLst>
                <a:ext uri="{FF2B5EF4-FFF2-40B4-BE49-F238E27FC236}">
                  <a16:creationId xmlns:a16="http://schemas.microsoft.com/office/drawing/2014/main" id="{DEA8F4D6-BE87-DAB7-73FB-5B3839DF34EA}"/>
                </a:ext>
              </a:extLst>
            </p:cNvPr>
            <p:cNvSpPr/>
            <p:nvPr/>
          </p:nvSpPr>
          <p:spPr>
            <a:xfrm>
              <a:off x="10384996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1" name="Freeform: Shape 510">
              <a:extLst>
                <a:ext uri="{FF2B5EF4-FFF2-40B4-BE49-F238E27FC236}">
                  <a16:creationId xmlns:a16="http://schemas.microsoft.com/office/drawing/2014/main" id="{D3E67C10-521E-66B1-85B1-DB744D9CD057}"/>
                </a:ext>
              </a:extLst>
            </p:cNvPr>
            <p:cNvSpPr/>
            <p:nvPr/>
          </p:nvSpPr>
          <p:spPr>
            <a:xfrm>
              <a:off x="10375852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2" name="Freeform: Shape 511">
              <a:extLst>
                <a:ext uri="{FF2B5EF4-FFF2-40B4-BE49-F238E27FC236}">
                  <a16:creationId xmlns:a16="http://schemas.microsoft.com/office/drawing/2014/main" id="{B1CFA8E1-DCB1-26D9-8D6A-DB8258A9A48F}"/>
                </a:ext>
              </a:extLst>
            </p:cNvPr>
            <p:cNvSpPr/>
            <p:nvPr/>
          </p:nvSpPr>
          <p:spPr>
            <a:xfrm>
              <a:off x="10431859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3" name="Freeform: Shape 512">
              <a:extLst>
                <a:ext uri="{FF2B5EF4-FFF2-40B4-BE49-F238E27FC236}">
                  <a16:creationId xmlns:a16="http://schemas.microsoft.com/office/drawing/2014/main" id="{B305F136-C3F5-5550-0E3D-2E5982918150}"/>
                </a:ext>
              </a:extLst>
            </p:cNvPr>
            <p:cNvSpPr/>
            <p:nvPr/>
          </p:nvSpPr>
          <p:spPr>
            <a:xfrm>
              <a:off x="10381567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4" name="Freeform: Shape 513">
              <a:extLst>
                <a:ext uri="{FF2B5EF4-FFF2-40B4-BE49-F238E27FC236}">
                  <a16:creationId xmlns:a16="http://schemas.microsoft.com/office/drawing/2014/main" id="{5C76D1A0-7EB2-5672-D2DF-151359431714}"/>
                </a:ext>
              </a:extLst>
            </p:cNvPr>
            <p:cNvSpPr/>
            <p:nvPr/>
          </p:nvSpPr>
          <p:spPr>
            <a:xfrm>
              <a:off x="10437574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5" name="Freeform: Shape 514">
              <a:extLst>
                <a:ext uri="{FF2B5EF4-FFF2-40B4-BE49-F238E27FC236}">
                  <a16:creationId xmlns:a16="http://schemas.microsoft.com/office/drawing/2014/main" id="{0620E0AE-02D1-AB06-6169-7802418A4AED}"/>
                </a:ext>
              </a:extLst>
            </p:cNvPr>
            <p:cNvSpPr/>
            <p:nvPr/>
          </p:nvSpPr>
          <p:spPr>
            <a:xfrm>
              <a:off x="10381567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6" name="Freeform: Shape 515">
              <a:extLst>
                <a:ext uri="{FF2B5EF4-FFF2-40B4-BE49-F238E27FC236}">
                  <a16:creationId xmlns:a16="http://schemas.microsoft.com/office/drawing/2014/main" id="{D511170F-346F-F19B-AC6C-685D40EB0C3A}"/>
                </a:ext>
              </a:extLst>
            </p:cNvPr>
            <p:cNvSpPr/>
            <p:nvPr/>
          </p:nvSpPr>
          <p:spPr>
            <a:xfrm>
              <a:off x="10437574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7" name="Freeform: Shape 516">
              <a:extLst>
                <a:ext uri="{FF2B5EF4-FFF2-40B4-BE49-F238E27FC236}">
                  <a16:creationId xmlns:a16="http://schemas.microsoft.com/office/drawing/2014/main" id="{BB8A08F9-E64A-32D2-2E70-C65387C57EBB}"/>
                </a:ext>
              </a:extLst>
            </p:cNvPr>
            <p:cNvSpPr/>
            <p:nvPr/>
          </p:nvSpPr>
          <p:spPr>
            <a:xfrm>
              <a:off x="1039985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8" name="Freeform: Shape 517">
              <a:extLst>
                <a:ext uri="{FF2B5EF4-FFF2-40B4-BE49-F238E27FC236}">
                  <a16:creationId xmlns:a16="http://schemas.microsoft.com/office/drawing/2014/main" id="{F8BAF934-2E9B-55F3-5A8B-C41201EC43E5}"/>
                </a:ext>
              </a:extLst>
            </p:cNvPr>
            <p:cNvSpPr/>
            <p:nvPr/>
          </p:nvSpPr>
          <p:spPr>
            <a:xfrm>
              <a:off x="1045586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9" name="Freeform: Shape 518">
              <a:extLst>
                <a:ext uri="{FF2B5EF4-FFF2-40B4-BE49-F238E27FC236}">
                  <a16:creationId xmlns:a16="http://schemas.microsoft.com/office/drawing/2014/main" id="{8920A44B-66E1-218A-0920-38CCB5985EBF}"/>
                </a:ext>
              </a:extLst>
            </p:cNvPr>
            <p:cNvSpPr/>
            <p:nvPr/>
          </p:nvSpPr>
          <p:spPr>
            <a:xfrm>
              <a:off x="1041128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0" name="Freeform: Shape 519">
              <a:extLst>
                <a:ext uri="{FF2B5EF4-FFF2-40B4-BE49-F238E27FC236}">
                  <a16:creationId xmlns:a16="http://schemas.microsoft.com/office/drawing/2014/main" id="{D42EDAC4-130B-8FED-AFD2-EEB9076E216A}"/>
                </a:ext>
              </a:extLst>
            </p:cNvPr>
            <p:cNvSpPr/>
            <p:nvPr/>
          </p:nvSpPr>
          <p:spPr>
            <a:xfrm>
              <a:off x="1046729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1" name="Freeform: Shape 520">
              <a:extLst>
                <a:ext uri="{FF2B5EF4-FFF2-40B4-BE49-F238E27FC236}">
                  <a16:creationId xmlns:a16="http://schemas.microsoft.com/office/drawing/2014/main" id="{9C8746E4-CFEF-469D-2AB2-30994782A074}"/>
                </a:ext>
              </a:extLst>
            </p:cNvPr>
            <p:cNvSpPr/>
            <p:nvPr/>
          </p:nvSpPr>
          <p:spPr>
            <a:xfrm>
              <a:off x="10435288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2" name="Freeform: Shape 521">
              <a:extLst>
                <a:ext uri="{FF2B5EF4-FFF2-40B4-BE49-F238E27FC236}">
                  <a16:creationId xmlns:a16="http://schemas.microsoft.com/office/drawing/2014/main" id="{221B50ED-B54E-6E4A-A1B0-E08C6E2D40B8}"/>
                </a:ext>
              </a:extLst>
            </p:cNvPr>
            <p:cNvSpPr/>
            <p:nvPr/>
          </p:nvSpPr>
          <p:spPr>
            <a:xfrm>
              <a:off x="10491295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3" name="Freeform: Shape 522">
              <a:extLst>
                <a:ext uri="{FF2B5EF4-FFF2-40B4-BE49-F238E27FC236}">
                  <a16:creationId xmlns:a16="http://schemas.microsoft.com/office/drawing/2014/main" id="{883AEFCB-23A8-D83B-5F2F-C4EFD4084AF1}"/>
                </a:ext>
              </a:extLst>
            </p:cNvPr>
            <p:cNvSpPr/>
            <p:nvPr/>
          </p:nvSpPr>
          <p:spPr>
            <a:xfrm>
              <a:off x="10535872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4" name="Freeform: Shape 523">
              <a:extLst>
                <a:ext uri="{FF2B5EF4-FFF2-40B4-BE49-F238E27FC236}">
                  <a16:creationId xmlns:a16="http://schemas.microsoft.com/office/drawing/2014/main" id="{8458CDB5-4187-D74D-97EE-DE9F60E32F6A}"/>
                </a:ext>
              </a:extLst>
            </p:cNvPr>
            <p:cNvSpPr/>
            <p:nvPr/>
          </p:nvSpPr>
          <p:spPr>
            <a:xfrm>
              <a:off x="10591879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5" name="Freeform: Shape 524">
              <a:extLst>
                <a:ext uri="{FF2B5EF4-FFF2-40B4-BE49-F238E27FC236}">
                  <a16:creationId xmlns:a16="http://schemas.microsoft.com/office/drawing/2014/main" id="{640EA83D-E5B4-0CA6-E591-AF07793247B9}"/>
                </a:ext>
              </a:extLst>
            </p:cNvPr>
            <p:cNvSpPr/>
            <p:nvPr/>
          </p:nvSpPr>
          <p:spPr>
            <a:xfrm>
              <a:off x="10541587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6" name="Freeform: Shape 525">
              <a:extLst>
                <a:ext uri="{FF2B5EF4-FFF2-40B4-BE49-F238E27FC236}">
                  <a16:creationId xmlns:a16="http://schemas.microsoft.com/office/drawing/2014/main" id="{9D4ECE25-457F-003C-EE04-4620E8BACA1B}"/>
                </a:ext>
              </a:extLst>
            </p:cNvPr>
            <p:cNvSpPr/>
            <p:nvPr/>
          </p:nvSpPr>
          <p:spPr>
            <a:xfrm>
              <a:off x="10597594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7" name="Freeform: Shape 526">
              <a:extLst>
                <a:ext uri="{FF2B5EF4-FFF2-40B4-BE49-F238E27FC236}">
                  <a16:creationId xmlns:a16="http://schemas.microsoft.com/office/drawing/2014/main" id="{4F1BCED6-EE31-DB32-A669-203E7699D61E}"/>
                </a:ext>
              </a:extLst>
            </p:cNvPr>
            <p:cNvSpPr/>
            <p:nvPr/>
          </p:nvSpPr>
          <p:spPr>
            <a:xfrm>
              <a:off x="10547302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8" name="Freeform: Shape 527">
              <a:extLst>
                <a:ext uri="{FF2B5EF4-FFF2-40B4-BE49-F238E27FC236}">
                  <a16:creationId xmlns:a16="http://schemas.microsoft.com/office/drawing/2014/main" id="{7C512511-33D0-825F-5D16-3E2C29D55015}"/>
                </a:ext>
              </a:extLst>
            </p:cNvPr>
            <p:cNvSpPr/>
            <p:nvPr/>
          </p:nvSpPr>
          <p:spPr>
            <a:xfrm>
              <a:off x="10603309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9" name="Freeform: Shape 528">
              <a:extLst>
                <a:ext uri="{FF2B5EF4-FFF2-40B4-BE49-F238E27FC236}">
                  <a16:creationId xmlns:a16="http://schemas.microsoft.com/office/drawing/2014/main" id="{F728A6F3-EA0B-26E4-4E4C-42DB01D0CEB6}"/>
                </a:ext>
              </a:extLst>
            </p:cNvPr>
            <p:cNvSpPr/>
            <p:nvPr/>
          </p:nvSpPr>
          <p:spPr>
            <a:xfrm>
              <a:off x="1076561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0" name="Freeform: Shape 529">
              <a:extLst>
                <a:ext uri="{FF2B5EF4-FFF2-40B4-BE49-F238E27FC236}">
                  <a16:creationId xmlns:a16="http://schemas.microsoft.com/office/drawing/2014/main" id="{AC8ED453-96B9-DA70-25F8-56AF0512428A}"/>
                </a:ext>
              </a:extLst>
            </p:cNvPr>
            <p:cNvSpPr/>
            <p:nvPr/>
          </p:nvSpPr>
          <p:spPr>
            <a:xfrm>
              <a:off x="1082162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1" name="Freeform: Shape 530">
              <a:extLst>
                <a:ext uri="{FF2B5EF4-FFF2-40B4-BE49-F238E27FC236}">
                  <a16:creationId xmlns:a16="http://schemas.microsoft.com/office/drawing/2014/main" id="{121B9969-0CDF-AD81-8152-F150E217D29A}"/>
                </a:ext>
              </a:extLst>
            </p:cNvPr>
            <p:cNvSpPr/>
            <p:nvPr/>
          </p:nvSpPr>
          <p:spPr>
            <a:xfrm>
              <a:off x="1077704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2" name="Freeform: Shape 531">
              <a:extLst>
                <a:ext uri="{FF2B5EF4-FFF2-40B4-BE49-F238E27FC236}">
                  <a16:creationId xmlns:a16="http://schemas.microsoft.com/office/drawing/2014/main" id="{E07E8D3C-F850-09C2-D55D-F72AF20A31E0}"/>
                </a:ext>
              </a:extLst>
            </p:cNvPr>
            <p:cNvSpPr/>
            <p:nvPr/>
          </p:nvSpPr>
          <p:spPr>
            <a:xfrm>
              <a:off x="1083305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3" name="Freeform: Shape 532">
              <a:extLst>
                <a:ext uri="{FF2B5EF4-FFF2-40B4-BE49-F238E27FC236}">
                  <a16:creationId xmlns:a16="http://schemas.microsoft.com/office/drawing/2014/main" id="{29CABE96-D9DC-44BA-BE06-B5DE72E85EDA}"/>
                </a:ext>
              </a:extLst>
            </p:cNvPr>
            <p:cNvSpPr/>
            <p:nvPr/>
          </p:nvSpPr>
          <p:spPr>
            <a:xfrm>
              <a:off x="10783903" y="-1502098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4" name="Freeform: Shape 533">
              <a:extLst>
                <a:ext uri="{FF2B5EF4-FFF2-40B4-BE49-F238E27FC236}">
                  <a16:creationId xmlns:a16="http://schemas.microsoft.com/office/drawing/2014/main" id="{502799F4-4937-7417-8CA3-7ED9D3E262E8}"/>
                </a:ext>
              </a:extLst>
            </p:cNvPr>
            <p:cNvSpPr/>
            <p:nvPr/>
          </p:nvSpPr>
          <p:spPr>
            <a:xfrm>
              <a:off x="10839910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5" name="Freeform: Shape 534">
              <a:extLst>
                <a:ext uri="{FF2B5EF4-FFF2-40B4-BE49-F238E27FC236}">
                  <a16:creationId xmlns:a16="http://schemas.microsoft.com/office/drawing/2014/main" id="{C08ABE23-BADC-9477-8F12-C8EB371198BC}"/>
                </a:ext>
              </a:extLst>
            </p:cNvPr>
            <p:cNvSpPr/>
            <p:nvPr/>
          </p:nvSpPr>
          <p:spPr>
            <a:xfrm>
              <a:off x="10795333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6" name="Freeform: Shape 535">
              <a:extLst>
                <a:ext uri="{FF2B5EF4-FFF2-40B4-BE49-F238E27FC236}">
                  <a16:creationId xmlns:a16="http://schemas.microsoft.com/office/drawing/2014/main" id="{A7E876EE-7E34-3184-68E1-83CFE22EE152}"/>
                </a:ext>
              </a:extLst>
            </p:cNvPr>
            <p:cNvSpPr/>
            <p:nvPr/>
          </p:nvSpPr>
          <p:spPr>
            <a:xfrm>
              <a:off x="10851340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7" name="Freeform: Shape 536">
              <a:extLst>
                <a:ext uri="{FF2B5EF4-FFF2-40B4-BE49-F238E27FC236}">
                  <a16:creationId xmlns:a16="http://schemas.microsoft.com/office/drawing/2014/main" id="{11758E3C-D943-129D-A664-8FBB29A93F39}"/>
                </a:ext>
              </a:extLst>
            </p:cNvPr>
            <p:cNvSpPr/>
            <p:nvPr/>
          </p:nvSpPr>
          <p:spPr>
            <a:xfrm>
              <a:off x="10989643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8" name="Freeform: Shape 537">
              <a:extLst>
                <a:ext uri="{FF2B5EF4-FFF2-40B4-BE49-F238E27FC236}">
                  <a16:creationId xmlns:a16="http://schemas.microsoft.com/office/drawing/2014/main" id="{8C9F10E8-DB6E-20D8-40CE-9B2F0E7F5A49}"/>
                </a:ext>
              </a:extLst>
            </p:cNvPr>
            <p:cNvSpPr/>
            <p:nvPr/>
          </p:nvSpPr>
          <p:spPr>
            <a:xfrm>
              <a:off x="11045650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9" name="Freeform: Shape 538">
              <a:extLst>
                <a:ext uri="{FF2B5EF4-FFF2-40B4-BE49-F238E27FC236}">
                  <a16:creationId xmlns:a16="http://schemas.microsoft.com/office/drawing/2014/main" id="{436464BF-A6BA-1118-D527-DD0CE7F3E4F1}"/>
                </a:ext>
              </a:extLst>
            </p:cNvPr>
            <p:cNvSpPr/>
            <p:nvPr/>
          </p:nvSpPr>
          <p:spPr>
            <a:xfrm>
              <a:off x="11025076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0" name="Freeform: Shape 539">
              <a:extLst>
                <a:ext uri="{FF2B5EF4-FFF2-40B4-BE49-F238E27FC236}">
                  <a16:creationId xmlns:a16="http://schemas.microsoft.com/office/drawing/2014/main" id="{725C7C1F-9148-0151-CF88-C06AA144E801}"/>
                </a:ext>
              </a:extLst>
            </p:cNvPr>
            <p:cNvSpPr/>
            <p:nvPr/>
          </p:nvSpPr>
          <p:spPr>
            <a:xfrm>
              <a:off x="11081083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1" name="Freeform: Shape 540">
              <a:extLst>
                <a:ext uri="{FF2B5EF4-FFF2-40B4-BE49-F238E27FC236}">
                  <a16:creationId xmlns:a16="http://schemas.microsoft.com/office/drawing/2014/main" id="{610A49CD-43AA-3731-C042-AE4679711DBB}"/>
                </a:ext>
              </a:extLst>
            </p:cNvPr>
            <p:cNvSpPr/>
            <p:nvPr/>
          </p:nvSpPr>
          <p:spPr>
            <a:xfrm>
              <a:off x="11149663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2" name="Freeform: Shape 541">
              <a:extLst>
                <a:ext uri="{FF2B5EF4-FFF2-40B4-BE49-F238E27FC236}">
                  <a16:creationId xmlns:a16="http://schemas.microsoft.com/office/drawing/2014/main" id="{B0B19940-5804-F0D3-ECFB-8F42B8A1F4FB}"/>
                </a:ext>
              </a:extLst>
            </p:cNvPr>
            <p:cNvSpPr/>
            <p:nvPr/>
          </p:nvSpPr>
          <p:spPr>
            <a:xfrm>
              <a:off x="11205670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3" name="Freeform: Shape 542">
              <a:extLst>
                <a:ext uri="{FF2B5EF4-FFF2-40B4-BE49-F238E27FC236}">
                  <a16:creationId xmlns:a16="http://schemas.microsoft.com/office/drawing/2014/main" id="{BAE8A8D8-24EA-692D-35F6-3DDB8E38AC98}"/>
                </a:ext>
              </a:extLst>
            </p:cNvPr>
            <p:cNvSpPr/>
            <p:nvPr/>
          </p:nvSpPr>
          <p:spPr>
            <a:xfrm>
              <a:off x="11279965" y="-1364938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4" name="Freeform: Shape 543">
              <a:extLst>
                <a:ext uri="{FF2B5EF4-FFF2-40B4-BE49-F238E27FC236}">
                  <a16:creationId xmlns:a16="http://schemas.microsoft.com/office/drawing/2014/main" id="{E586C163-CEC3-EE69-AADF-42785950C75C}"/>
                </a:ext>
              </a:extLst>
            </p:cNvPr>
            <p:cNvSpPr/>
            <p:nvPr/>
          </p:nvSpPr>
          <p:spPr>
            <a:xfrm>
              <a:off x="11335972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5" name="Freeform: Shape 544">
              <a:extLst>
                <a:ext uri="{FF2B5EF4-FFF2-40B4-BE49-F238E27FC236}">
                  <a16:creationId xmlns:a16="http://schemas.microsoft.com/office/drawing/2014/main" id="{51AEC1AD-2C73-3C7A-8C1A-E738223CF3DE}"/>
                </a:ext>
              </a:extLst>
            </p:cNvPr>
            <p:cNvSpPr/>
            <p:nvPr/>
          </p:nvSpPr>
          <p:spPr>
            <a:xfrm>
              <a:off x="11438842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6" name="Freeform: Shape 545">
              <a:extLst>
                <a:ext uri="{FF2B5EF4-FFF2-40B4-BE49-F238E27FC236}">
                  <a16:creationId xmlns:a16="http://schemas.microsoft.com/office/drawing/2014/main" id="{6379C2A8-A721-67F0-6619-D6321F94B4D6}"/>
                </a:ext>
              </a:extLst>
            </p:cNvPr>
            <p:cNvSpPr/>
            <p:nvPr/>
          </p:nvSpPr>
          <p:spPr>
            <a:xfrm>
              <a:off x="11494849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7" name="Freeform: Shape 546">
              <a:extLst>
                <a:ext uri="{FF2B5EF4-FFF2-40B4-BE49-F238E27FC236}">
                  <a16:creationId xmlns:a16="http://schemas.microsoft.com/office/drawing/2014/main" id="{6398E4E4-929A-3372-6990-E92823684EDF}"/>
                </a:ext>
              </a:extLst>
            </p:cNvPr>
            <p:cNvSpPr/>
            <p:nvPr/>
          </p:nvSpPr>
          <p:spPr>
            <a:xfrm>
              <a:off x="11515423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8" name="Freeform: Shape 547">
              <a:extLst>
                <a:ext uri="{FF2B5EF4-FFF2-40B4-BE49-F238E27FC236}">
                  <a16:creationId xmlns:a16="http://schemas.microsoft.com/office/drawing/2014/main" id="{FFE56712-A04E-8337-06CB-1B70CBA1C35B}"/>
                </a:ext>
              </a:extLst>
            </p:cNvPr>
            <p:cNvSpPr/>
            <p:nvPr/>
          </p:nvSpPr>
          <p:spPr>
            <a:xfrm>
              <a:off x="11571430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9" name="Freeform: Shape 548">
              <a:extLst>
                <a:ext uri="{FF2B5EF4-FFF2-40B4-BE49-F238E27FC236}">
                  <a16:creationId xmlns:a16="http://schemas.microsoft.com/office/drawing/2014/main" id="{ECD82DA7-7D51-F293-24DF-F1F303F5B650}"/>
                </a:ext>
              </a:extLst>
            </p:cNvPr>
            <p:cNvSpPr/>
            <p:nvPr/>
          </p:nvSpPr>
          <p:spPr>
            <a:xfrm>
              <a:off x="4378531" y="-2448502"/>
              <a:ext cx="7192899" cy="1083564"/>
            </a:xfrm>
            <a:custGeom>
              <a:avLst/>
              <a:gdLst>
                <a:gd name="connsiteX0" fmla="*/ 0 w 7192899"/>
                <a:gd name="connsiteY0" fmla="*/ 0 h 1083564"/>
                <a:gd name="connsiteX1" fmla="*/ 29623 w 7192899"/>
                <a:gd name="connsiteY1" fmla="*/ 0 h 1083564"/>
                <a:gd name="connsiteX2" fmla="*/ 29623 w 7192899"/>
                <a:gd name="connsiteY2" fmla="*/ 8001 h 1083564"/>
                <a:gd name="connsiteX3" fmla="*/ 53340 w 7192899"/>
                <a:gd name="connsiteY3" fmla="*/ 8001 h 1083564"/>
                <a:gd name="connsiteX4" fmla="*/ 53340 w 7192899"/>
                <a:gd name="connsiteY4" fmla="*/ 15907 h 1083564"/>
                <a:gd name="connsiteX5" fmla="*/ 130016 w 7192899"/>
                <a:gd name="connsiteY5" fmla="*/ 15907 h 1083564"/>
                <a:gd name="connsiteX6" fmla="*/ 130016 w 7192899"/>
                <a:gd name="connsiteY6" fmla="*/ 23908 h 1083564"/>
                <a:gd name="connsiteX7" fmla="*/ 135922 w 7192899"/>
                <a:gd name="connsiteY7" fmla="*/ 23908 h 1083564"/>
                <a:gd name="connsiteX8" fmla="*/ 135922 w 7192899"/>
                <a:gd name="connsiteY8" fmla="*/ 39815 h 1083564"/>
                <a:gd name="connsiteX9" fmla="*/ 177260 w 7192899"/>
                <a:gd name="connsiteY9" fmla="*/ 39815 h 1083564"/>
                <a:gd name="connsiteX10" fmla="*/ 177260 w 7192899"/>
                <a:gd name="connsiteY10" fmla="*/ 48006 h 1083564"/>
                <a:gd name="connsiteX11" fmla="*/ 200978 w 7192899"/>
                <a:gd name="connsiteY11" fmla="*/ 48006 h 1083564"/>
                <a:gd name="connsiteX12" fmla="*/ 200978 w 7192899"/>
                <a:gd name="connsiteY12" fmla="*/ 56007 h 1083564"/>
                <a:gd name="connsiteX13" fmla="*/ 212693 w 7192899"/>
                <a:gd name="connsiteY13" fmla="*/ 56007 h 1083564"/>
                <a:gd name="connsiteX14" fmla="*/ 212693 w 7192899"/>
                <a:gd name="connsiteY14" fmla="*/ 64103 h 1083564"/>
                <a:gd name="connsiteX15" fmla="*/ 218599 w 7192899"/>
                <a:gd name="connsiteY15" fmla="*/ 64103 h 1083564"/>
                <a:gd name="connsiteX16" fmla="*/ 218599 w 7192899"/>
                <a:gd name="connsiteY16" fmla="*/ 72200 h 1083564"/>
                <a:gd name="connsiteX17" fmla="*/ 254127 w 7192899"/>
                <a:gd name="connsiteY17" fmla="*/ 72200 h 1083564"/>
                <a:gd name="connsiteX18" fmla="*/ 254127 w 7192899"/>
                <a:gd name="connsiteY18" fmla="*/ 80296 h 1083564"/>
                <a:gd name="connsiteX19" fmla="*/ 277654 w 7192899"/>
                <a:gd name="connsiteY19" fmla="*/ 80296 h 1083564"/>
                <a:gd name="connsiteX20" fmla="*/ 277654 w 7192899"/>
                <a:gd name="connsiteY20" fmla="*/ 96679 h 1083564"/>
                <a:gd name="connsiteX21" fmla="*/ 289370 w 7192899"/>
                <a:gd name="connsiteY21" fmla="*/ 96679 h 1083564"/>
                <a:gd name="connsiteX22" fmla="*/ 289370 w 7192899"/>
                <a:gd name="connsiteY22" fmla="*/ 104680 h 1083564"/>
                <a:gd name="connsiteX23" fmla="*/ 360331 w 7192899"/>
                <a:gd name="connsiteY23" fmla="*/ 104680 h 1083564"/>
                <a:gd name="connsiteX24" fmla="*/ 360331 w 7192899"/>
                <a:gd name="connsiteY24" fmla="*/ 112871 h 1083564"/>
                <a:gd name="connsiteX25" fmla="*/ 466630 w 7192899"/>
                <a:gd name="connsiteY25" fmla="*/ 112871 h 1083564"/>
                <a:gd name="connsiteX26" fmla="*/ 466630 w 7192899"/>
                <a:gd name="connsiteY26" fmla="*/ 121253 h 1083564"/>
                <a:gd name="connsiteX27" fmla="*/ 519779 w 7192899"/>
                <a:gd name="connsiteY27" fmla="*/ 121253 h 1083564"/>
                <a:gd name="connsiteX28" fmla="*/ 519779 w 7192899"/>
                <a:gd name="connsiteY28" fmla="*/ 129730 h 1083564"/>
                <a:gd name="connsiteX29" fmla="*/ 531590 w 7192899"/>
                <a:gd name="connsiteY29" fmla="*/ 129730 h 1083564"/>
                <a:gd name="connsiteX30" fmla="*/ 531590 w 7192899"/>
                <a:gd name="connsiteY30" fmla="*/ 138017 h 1083564"/>
                <a:gd name="connsiteX31" fmla="*/ 549307 w 7192899"/>
                <a:gd name="connsiteY31" fmla="*/ 138017 h 1083564"/>
                <a:gd name="connsiteX32" fmla="*/ 549307 w 7192899"/>
                <a:gd name="connsiteY32" fmla="*/ 146495 h 1083564"/>
                <a:gd name="connsiteX33" fmla="*/ 596551 w 7192899"/>
                <a:gd name="connsiteY33" fmla="*/ 146495 h 1083564"/>
                <a:gd name="connsiteX34" fmla="*/ 596551 w 7192899"/>
                <a:gd name="connsiteY34" fmla="*/ 154877 h 1083564"/>
                <a:gd name="connsiteX35" fmla="*/ 626078 w 7192899"/>
                <a:gd name="connsiteY35" fmla="*/ 154877 h 1083564"/>
                <a:gd name="connsiteX36" fmla="*/ 626078 w 7192899"/>
                <a:gd name="connsiteY36" fmla="*/ 163259 h 1083564"/>
                <a:gd name="connsiteX37" fmla="*/ 673322 w 7192899"/>
                <a:gd name="connsiteY37" fmla="*/ 163259 h 1083564"/>
                <a:gd name="connsiteX38" fmla="*/ 673322 w 7192899"/>
                <a:gd name="connsiteY38" fmla="*/ 171736 h 1083564"/>
                <a:gd name="connsiteX39" fmla="*/ 785527 w 7192899"/>
                <a:gd name="connsiteY39" fmla="*/ 171736 h 1083564"/>
                <a:gd name="connsiteX40" fmla="*/ 785527 w 7192899"/>
                <a:gd name="connsiteY40" fmla="*/ 180213 h 1083564"/>
                <a:gd name="connsiteX41" fmla="*/ 797338 w 7192899"/>
                <a:gd name="connsiteY41" fmla="*/ 180213 h 1083564"/>
                <a:gd name="connsiteX42" fmla="*/ 797338 w 7192899"/>
                <a:gd name="connsiteY42" fmla="*/ 188881 h 1083564"/>
                <a:gd name="connsiteX43" fmla="*/ 844582 w 7192899"/>
                <a:gd name="connsiteY43" fmla="*/ 188881 h 1083564"/>
                <a:gd name="connsiteX44" fmla="*/ 844582 w 7192899"/>
                <a:gd name="connsiteY44" fmla="*/ 197358 h 1083564"/>
                <a:gd name="connsiteX45" fmla="*/ 874014 w 7192899"/>
                <a:gd name="connsiteY45" fmla="*/ 197358 h 1083564"/>
                <a:gd name="connsiteX46" fmla="*/ 874014 w 7192899"/>
                <a:gd name="connsiteY46" fmla="*/ 205835 h 1083564"/>
                <a:gd name="connsiteX47" fmla="*/ 909542 w 7192899"/>
                <a:gd name="connsiteY47" fmla="*/ 205835 h 1083564"/>
                <a:gd name="connsiteX48" fmla="*/ 909542 w 7192899"/>
                <a:gd name="connsiteY48" fmla="*/ 214408 h 1083564"/>
                <a:gd name="connsiteX49" fmla="*/ 927164 w 7192899"/>
                <a:gd name="connsiteY49" fmla="*/ 214408 h 1083564"/>
                <a:gd name="connsiteX50" fmla="*/ 927164 w 7192899"/>
                <a:gd name="connsiteY50" fmla="*/ 222885 h 1083564"/>
                <a:gd name="connsiteX51" fmla="*/ 1004126 w 7192899"/>
                <a:gd name="connsiteY51" fmla="*/ 222885 h 1083564"/>
                <a:gd name="connsiteX52" fmla="*/ 1004126 w 7192899"/>
                <a:gd name="connsiteY52" fmla="*/ 231553 h 1083564"/>
                <a:gd name="connsiteX53" fmla="*/ 1116235 w 7192899"/>
                <a:gd name="connsiteY53" fmla="*/ 231553 h 1083564"/>
                <a:gd name="connsiteX54" fmla="*/ 1116235 w 7192899"/>
                <a:gd name="connsiteY54" fmla="*/ 240316 h 1083564"/>
                <a:gd name="connsiteX55" fmla="*/ 1128046 w 7192899"/>
                <a:gd name="connsiteY55" fmla="*/ 240316 h 1083564"/>
                <a:gd name="connsiteX56" fmla="*/ 1128046 w 7192899"/>
                <a:gd name="connsiteY56" fmla="*/ 249174 h 1083564"/>
                <a:gd name="connsiteX57" fmla="*/ 1252061 w 7192899"/>
                <a:gd name="connsiteY57" fmla="*/ 249174 h 1083564"/>
                <a:gd name="connsiteX58" fmla="*/ 1252061 w 7192899"/>
                <a:gd name="connsiteY58" fmla="*/ 267176 h 1083564"/>
                <a:gd name="connsiteX59" fmla="*/ 1263777 w 7192899"/>
                <a:gd name="connsiteY59" fmla="*/ 267176 h 1083564"/>
                <a:gd name="connsiteX60" fmla="*/ 1263777 w 7192899"/>
                <a:gd name="connsiteY60" fmla="*/ 276130 h 1083564"/>
                <a:gd name="connsiteX61" fmla="*/ 1376077 w 7192899"/>
                <a:gd name="connsiteY61" fmla="*/ 276130 h 1083564"/>
                <a:gd name="connsiteX62" fmla="*/ 1376077 w 7192899"/>
                <a:gd name="connsiteY62" fmla="*/ 285274 h 1083564"/>
                <a:gd name="connsiteX63" fmla="*/ 1399699 w 7192899"/>
                <a:gd name="connsiteY63" fmla="*/ 285274 h 1083564"/>
                <a:gd name="connsiteX64" fmla="*/ 1399699 w 7192899"/>
                <a:gd name="connsiteY64" fmla="*/ 294418 h 1083564"/>
                <a:gd name="connsiteX65" fmla="*/ 1411415 w 7192899"/>
                <a:gd name="connsiteY65" fmla="*/ 294418 h 1083564"/>
                <a:gd name="connsiteX66" fmla="*/ 1411415 w 7192899"/>
                <a:gd name="connsiteY66" fmla="*/ 303657 h 1083564"/>
                <a:gd name="connsiteX67" fmla="*/ 1499997 w 7192899"/>
                <a:gd name="connsiteY67" fmla="*/ 303657 h 1083564"/>
                <a:gd name="connsiteX68" fmla="*/ 1499997 w 7192899"/>
                <a:gd name="connsiteY68" fmla="*/ 312801 h 1083564"/>
                <a:gd name="connsiteX69" fmla="*/ 1511808 w 7192899"/>
                <a:gd name="connsiteY69" fmla="*/ 312801 h 1083564"/>
                <a:gd name="connsiteX70" fmla="*/ 1511808 w 7192899"/>
                <a:gd name="connsiteY70" fmla="*/ 321945 h 1083564"/>
                <a:gd name="connsiteX71" fmla="*/ 1582674 w 7192899"/>
                <a:gd name="connsiteY71" fmla="*/ 321945 h 1083564"/>
                <a:gd name="connsiteX72" fmla="*/ 1582674 w 7192899"/>
                <a:gd name="connsiteY72" fmla="*/ 331184 h 1083564"/>
                <a:gd name="connsiteX73" fmla="*/ 1618202 w 7192899"/>
                <a:gd name="connsiteY73" fmla="*/ 331184 h 1083564"/>
                <a:gd name="connsiteX74" fmla="*/ 1618202 w 7192899"/>
                <a:gd name="connsiteY74" fmla="*/ 340424 h 1083564"/>
                <a:gd name="connsiteX75" fmla="*/ 1624108 w 7192899"/>
                <a:gd name="connsiteY75" fmla="*/ 340424 h 1083564"/>
                <a:gd name="connsiteX76" fmla="*/ 1624108 w 7192899"/>
                <a:gd name="connsiteY76" fmla="*/ 349663 h 1083564"/>
                <a:gd name="connsiteX77" fmla="*/ 1700784 w 7192899"/>
                <a:gd name="connsiteY77" fmla="*/ 349663 h 1083564"/>
                <a:gd name="connsiteX78" fmla="*/ 1700784 w 7192899"/>
                <a:gd name="connsiteY78" fmla="*/ 358997 h 1083564"/>
                <a:gd name="connsiteX79" fmla="*/ 1706690 w 7192899"/>
                <a:gd name="connsiteY79" fmla="*/ 358997 h 1083564"/>
                <a:gd name="connsiteX80" fmla="*/ 1706690 w 7192899"/>
                <a:gd name="connsiteY80" fmla="*/ 386810 h 1083564"/>
                <a:gd name="connsiteX81" fmla="*/ 1866233 w 7192899"/>
                <a:gd name="connsiteY81" fmla="*/ 386810 h 1083564"/>
                <a:gd name="connsiteX82" fmla="*/ 1866233 w 7192899"/>
                <a:gd name="connsiteY82" fmla="*/ 396240 h 1083564"/>
                <a:gd name="connsiteX83" fmla="*/ 2090642 w 7192899"/>
                <a:gd name="connsiteY83" fmla="*/ 396240 h 1083564"/>
                <a:gd name="connsiteX84" fmla="*/ 2090642 w 7192899"/>
                <a:gd name="connsiteY84" fmla="*/ 405860 h 1083564"/>
                <a:gd name="connsiteX85" fmla="*/ 2131886 w 7192899"/>
                <a:gd name="connsiteY85" fmla="*/ 405860 h 1083564"/>
                <a:gd name="connsiteX86" fmla="*/ 2131886 w 7192899"/>
                <a:gd name="connsiteY86" fmla="*/ 415481 h 1083564"/>
                <a:gd name="connsiteX87" fmla="*/ 2250091 w 7192899"/>
                <a:gd name="connsiteY87" fmla="*/ 415481 h 1083564"/>
                <a:gd name="connsiteX88" fmla="*/ 2250091 w 7192899"/>
                <a:gd name="connsiteY88" fmla="*/ 425291 h 1083564"/>
                <a:gd name="connsiteX89" fmla="*/ 2267807 w 7192899"/>
                <a:gd name="connsiteY89" fmla="*/ 425291 h 1083564"/>
                <a:gd name="connsiteX90" fmla="*/ 2267807 w 7192899"/>
                <a:gd name="connsiteY90" fmla="*/ 434912 h 1083564"/>
                <a:gd name="connsiteX91" fmla="*/ 2297144 w 7192899"/>
                <a:gd name="connsiteY91" fmla="*/ 434912 h 1083564"/>
                <a:gd name="connsiteX92" fmla="*/ 2297144 w 7192899"/>
                <a:gd name="connsiteY92" fmla="*/ 444722 h 1083564"/>
                <a:gd name="connsiteX93" fmla="*/ 2368106 w 7192899"/>
                <a:gd name="connsiteY93" fmla="*/ 444722 h 1083564"/>
                <a:gd name="connsiteX94" fmla="*/ 2368106 w 7192899"/>
                <a:gd name="connsiteY94" fmla="*/ 454438 h 1083564"/>
                <a:gd name="connsiteX95" fmla="*/ 2450783 w 7192899"/>
                <a:gd name="connsiteY95" fmla="*/ 454438 h 1083564"/>
                <a:gd name="connsiteX96" fmla="*/ 2450783 w 7192899"/>
                <a:gd name="connsiteY96" fmla="*/ 464344 h 1083564"/>
                <a:gd name="connsiteX97" fmla="*/ 2551271 w 7192899"/>
                <a:gd name="connsiteY97" fmla="*/ 464344 h 1083564"/>
                <a:gd name="connsiteX98" fmla="*/ 2551271 w 7192899"/>
                <a:gd name="connsiteY98" fmla="*/ 474155 h 1083564"/>
                <a:gd name="connsiteX99" fmla="*/ 2598420 w 7192899"/>
                <a:gd name="connsiteY99" fmla="*/ 474155 h 1083564"/>
                <a:gd name="connsiteX100" fmla="*/ 2598420 w 7192899"/>
                <a:gd name="connsiteY100" fmla="*/ 484060 h 1083564"/>
                <a:gd name="connsiteX101" fmla="*/ 2610231 w 7192899"/>
                <a:gd name="connsiteY101" fmla="*/ 484060 h 1083564"/>
                <a:gd name="connsiteX102" fmla="*/ 2610231 w 7192899"/>
                <a:gd name="connsiteY102" fmla="*/ 494062 h 1083564"/>
                <a:gd name="connsiteX103" fmla="*/ 2633853 w 7192899"/>
                <a:gd name="connsiteY103" fmla="*/ 494062 h 1083564"/>
                <a:gd name="connsiteX104" fmla="*/ 2633853 w 7192899"/>
                <a:gd name="connsiteY104" fmla="*/ 513874 h 1083564"/>
                <a:gd name="connsiteX105" fmla="*/ 2645759 w 7192899"/>
                <a:gd name="connsiteY105" fmla="*/ 513874 h 1083564"/>
                <a:gd name="connsiteX106" fmla="*/ 2645759 w 7192899"/>
                <a:gd name="connsiteY106" fmla="*/ 523685 h 1083564"/>
                <a:gd name="connsiteX107" fmla="*/ 2858262 w 7192899"/>
                <a:gd name="connsiteY107" fmla="*/ 523685 h 1083564"/>
                <a:gd name="connsiteX108" fmla="*/ 2858262 w 7192899"/>
                <a:gd name="connsiteY108" fmla="*/ 533686 h 1083564"/>
                <a:gd name="connsiteX109" fmla="*/ 2958751 w 7192899"/>
                <a:gd name="connsiteY109" fmla="*/ 533686 h 1083564"/>
                <a:gd name="connsiteX110" fmla="*/ 2958751 w 7192899"/>
                <a:gd name="connsiteY110" fmla="*/ 543878 h 1083564"/>
                <a:gd name="connsiteX111" fmla="*/ 3029522 w 7192899"/>
                <a:gd name="connsiteY111" fmla="*/ 543878 h 1083564"/>
                <a:gd name="connsiteX112" fmla="*/ 3029522 w 7192899"/>
                <a:gd name="connsiteY112" fmla="*/ 564452 h 1083564"/>
                <a:gd name="connsiteX113" fmla="*/ 3076671 w 7192899"/>
                <a:gd name="connsiteY113" fmla="*/ 564452 h 1083564"/>
                <a:gd name="connsiteX114" fmla="*/ 3076671 w 7192899"/>
                <a:gd name="connsiteY114" fmla="*/ 574739 h 1083564"/>
                <a:gd name="connsiteX115" fmla="*/ 3112199 w 7192899"/>
                <a:gd name="connsiteY115" fmla="*/ 574739 h 1083564"/>
                <a:gd name="connsiteX116" fmla="*/ 3112199 w 7192899"/>
                <a:gd name="connsiteY116" fmla="*/ 585026 h 1083564"/>
                <a:gd name="connsiteX117" fmla="*/ 3153632 w 7192899"/>
                <a:gd name="connsiteY117" fmla="*/ 585026 h 1083564"/>
                <a:gd name="connsiteX118" fmla="*/ 3153632 w 7192899"/>
                <a:gd name="connsiteY118" fmla="*/ 595313 h 1083564"/>
                <a:gd name="connsiteX119" fmla="*/ 3254026 w 7192899"/>
                <a:gd name="connsiteY119" fmla="*/ 595313 h 1083564"/>
                <a:gd name="connsiteX120" fmla="*/ 3254026 w 7192899"/>
                <a:gd name="connsiteY120" fmla="*/ 605600 h 1083564"/>
                <a:gd name="connsiteX121" fmla="*/ 3620167 w 7192899"/>
                <a:gd name="connsiteY121" fmla="*/ 605600 h 1083564"/>
                <a:gd name="connsiteX122" fmla="*/ 3620167 w 7192899"/>
                <a:gd name="connsiteY122" fmla="*/ 616077 h 1083564"/>
                <a:gd name="connsiteX123" fmla="*/ 3649694 w 7192899"/>
                <a:gd name="connsiteY123" fmla="*/ 616077 h 1083564"/>
                <a:gd name="connsiteX124" fmla="*/ 3649694 w 7192899"/>
                <a:gd name="connsiteY124" fmla="*/ 626650 h 1083564"/>
                <a:gd name="connsiteX125" fmla="*/ 3826859 w 7192899"/>
                <a:gd name="connsiteY125" fmla="*/ 626650 h 1083564"/>
                <a:gd name="connsiteX126" fmla="*/ 3826859 w 7192899"/>
                <a:gd name="connsiteY126" fmla="*/ 637127 h 1083564"/>
                <a:gd name="connsiteX127" fmla="*/ 3992213 w 7192899"/>
                <a:gd name="connsiteY127" fmla="*/ 637127 h 1083564"/>
                <a:gd name="connsiteX128" fmla="*/ 3992213 w 7192899"/>
                <a:gd name="connsiteY128" fmla="*/ 647795 h 1083564"/>
                <a:gd name="connsiteX129" fmla="*/ 4181094 w 7192899"/>
                <a:gd name="connsiteY129" fmla="*/ 647795 h 1083564"/>
                <a:gd name="connsiteX130" fmla="*/ 4181094 w 7192899"/>
                <a:gd name="connsiteY130" fmla="*/ 658559 h 1083564"/>
                <a:gd name="connsiteX131" fmla="*/ 4204811 w 7192899"/>
                <a:gd name="connsiteY131" fmla="*/ 658559 h 1083564"/>
                <a:gd name="connsiteX132" fmla="*/ 4204811 w 7192899"/>
                <a:gd name="connsiteY132" fmla="*/ 669227 h 1083564"/>
                <a:gd name="connsiteX133" fmla="*/ 4228243 w 7192899"/>
                <a:gd name="connsiteY133" fmla="*/ 669227 h 1083564"/>
                <a:gd name="connsiteX134" fmla="*/ 4228243 w 7192899"/>
                <a:gd name="connsiteY134" fmla="*/ 679895 h 1083564"/>
                <a:gd name="connsiteX135" fmla="*/ 4352354 w 7192899"/>
                <a:gd name="connsiteY135" fmla="*/ 679895 h 1083564"/>
                <a:gd name="connsiteX136" fmla="*/ 4352354 w 7192899"/>
                <a:gd name="connsiteY136" fmla="*/ 690658 h 1083564"/>
                <a:gd name="connsiteX137" fmla="*/ 4381881 w 7192899"/>
                <a:gd name="connsiteY137" fmla="*/ 690658 h 1083564"/>
                <a:gd name="connsiteX138" fmla="*/ 4381881 w 7192899"/>
                <a:gd name="connsiteY138" fmla="*/ 701326 h 1083564"/>
                <a:gd name="connsiteX139" fmla="*/ 4470368 w 7192899"/>
                <a:gd name="connsiteY139" fmla="*/ 701326 h 1083564"/>
                <a:gd name="connsiteX140" fmla="*/ 4470368 w 7192899"/>
                <a:gd name="connsiteY140" fmla="*/ 711994 h 1083564"/>
                <a:gd name="connsiteX141" fmla="*/ 4482275 w 7192899"/>
                <a:gd name="connsiteY141" fmla="*/ 711994 h 1083564"/>
                <a:gd name="connsiteX142" fmla="*/ 4482275 w 7192899"/>
                <a:gd name="connsiteY142" fmla="*/ 722757 h 1083564"/>
                <a:gd name="connsiteX143" fmla="*/ 4493991 w 7192899"/>
                <a:gd name="connsiteY143" fmla="*/ 722757 h 1083564"/>
                <a:gd name="connsiteX144" fmla="*/ 4493991 w 7192899"/>
                <a:gd name="connsiteY144" fmla="*/ 733520 h 1083564"/>
                <a:gd name="connsiteX145" fmla="*/ 4724400 w 7192899"/>
                <a:gd name="connsiteY145" fmla="*/ 733520 h 1083564"/>
                <a:gd name="connsiteX146" fmla="*/ 4724400 w 7192899"/>
                <a:gd name="connsiteY146" fmla="*/ 756095 h 1083564"/>
                <a:gd name="connsiteX147" fmla="*/ 4972431 w 7192899"/>
                <a:gd name="connsiteY147" fmla="*/ 756095 h 1083564"/>
                <a:gd name="connsiteX148" fmla="*/ 4972431 w 7192899"/>
                <a:gd name="connsiteY148" fmla="*/ 769811 h 1083564"/>
                <a:gd name="connsiteX149" fmla="*/ 5072825 w 7192899"/>
                <a:gd name="connsiteY149" fmla="*/ 769811 h 1083564"/>
                <a:gd name="connsiteX150" fmla="*/ 5072825 w 7192899"/>
                <a:gd name="connsiteY150" fmla="*/ 784098 h 1083564"/>
                <a:gd name="connsiteX151" fmla="*/ 5108163 w 7192899"/>
                <a:gd name="connsiteY151" fmla="*/ 784098 h 1083564"/>
                <a:gd name="connsiteX152" fmla="*/ 5108163 w 7192899"/>
                <a:gd name="connsiteY152" fmla="*/ 813816 h 1083564"/>
                <a:gd name="connsiteX153" fmla="*/ 5208747 w 7192899"/>
                <a:gd name="connsiteY153" fmla="*/ 813816 h 1083564"/>
                <a:gd name="connsiteX154" fmla="*/ 5208747 w 7192899"/>
                <a:gd name="connsiteY154" fmla="*/ 828770 h 1083564"/>
                <a:gd name="connsiteX155" fmla="*/ 5480304 w 7192899"/>
                <a:gd name="connsiteY155" fmla="*/ 828770 h 1083564"/>
                <a:gd name="connsiteX156" fmla="*/ 5480304 w 7192899"/>
                <a:gd name="connsiteY156" fmla="*/ 850392 h 1083564"/>
                <a:gd name="connsiteX157" fmla="*/ 5521643 w 7192899"/>
                <a:gd name="connsiteY157" fmla="*/ 850392 h 1083564"/>
                <a:gd name="connsiteX158" fmla="*/ 5521643 w 7192899"/>
                <a:gd name="connsiteY158" fmla="*/ 875062 h 1083564"/>
                <a:gd name="connsiteX159" fmla="*/ 5633847 w 7192899"/>
                <a:gd name="connsiteY159" fmla="*/ 875062 h 1083564"/>
                <a:gd name="connsiteX160" fmla="*/ 5633847 w 7192899"/>
                <a:gd name="connsiteY160" fmla="*/ 905542 h 1083564"/>
                <a:gd name="connsiteX161" fmla="*/ 5964555 w 7192899"/>
                <a:gd name="connsiteY161" fmla="*/ 905542 h 1083564"/>
                <a:gd name="connsiteX162" fmla="*/ 5964555 w 7192899"/>
                <a:gd name="connsiteY162" fmla="*/ 945737 h 1083564"/>
                <a:gd name="connsiteX163" fmla="*/ 6578728 w 7192899"/>
                <a:gd name="connsiteY163" fmla="*/ 945737 h 1083564"/>
                <a:gd name="connsiteX164" fmla="*/ 6578728 w 7192899"/>
                <a:gd name="connsiteY164" fmla="*/ 1083564 h 1083564"/>
                <a:gd name="connsiteX165" fmla="*/ 7192899 w 7192899"/>
                <a:gd name="connsiteY165" fmla="*/ 1083564 h 108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7192899" h="1083564">
                  <a:moveTo>
                    <a:pt x="0" y="0"/>
                  </a:moveTo>
                  <a:lnTo>
                    <a:pt x="29623" y="0"/>
                  </a:lnTo>
                  <a:lnTo>
                    <a:pt x="29623" y="8001"/>
                  </a:lnTo>
                  <a:lnTo>
                    <a:pt x="53340" y="8001"/>
                  </a:lnTo>
                  <a:lnTo>
                    <a:pt x="53340" y="15907"/>
                  </a:lnTo>
                  <a:lnTo>
                    <a:pt x="130016" y="15907"/>
                  </a:lnTo>
                  <a:lnTo>
                    <a:pt x="130016" y="23908"/>
                  </a:lnTo>
                  <a:lnTo>
                    <a:pt x="135922" y="23908"/>
                  </a:lnTo>
                  <a:lnTo>
                    <a:pt x="135922" y="39815"/>
                  </a:lnTo>
                  <a:lnTo>
                    <a:pt x="177260" y="39815"/>
                  </a:lnTo>
                  <a:lnTo>
                    <a:pt x="177260" y="48006"/>
                  </a:lnTo>
                  <a:lnTo>
                    <a:pt x="200978" y="48006"/>
                  </a:lnTo>
                  <a:lnTo>
                    <a:pt x="200978" y="56007"/>
                  </a:lnTo>
                  <a:lnTo>
                    <a:pt x="212693" y="56007"/>
                  </a:lnTo>
                  <a:lnTo>
                    <a:pt x="212693" y="64103"/>
                  </a:lnTo>
                  <a:lnTo>
                    <a:pt x="218599" y="64103"/>
                  </a:lnTo>
                  <a:lnTo>
                    <a:pt x="218599" y="72200"/>
                  </a:lnTo>
                  <a:lnTo>
                    <a:pt x="254127" y="72200"/>
                  </a:lnTo>
                  <a:lnTo>
                    <a:pt x="254127" y="80296"/>
                  </a:lnTo>
                  <a:lnTo>
                    <a:pt x="277654" y="80296"/>
                  </a:lnTo>
                  <a:lnTo>
                    <a:pt x="277654" y="96679"/>
                  </a:lnTo>
                  <a:lnTo>
                    <a:pt x="289370" y="96679"/>
                  </a:lnTo>
                  <a:lnTo>
                    <a:pt x="289370" y="104680"/>
                  </a:lnTo>
                  <a:lnTo>
                    <a:pt x="360331" y="104680"/>
                  </a:lnTo>
                  <a:lnTo>
                    <a:pt x="360331" y="112871"/>
                  </a:lnTo>
                  <a:lnTo>
                    <a:pt x="466630" y="112871"/>
                  </a:lnTo>
                  <a:lnTo>
                    <a:pt x="466630" y="121253"/>
                  </a:lnTo>
                  <a:lnTo>
                    <a:pt x="519779" y="121253"/>
                  </a:lnTo>
                  <a:lnTo>
                    <a:pt x="519779" y="129730"/>
                  </a:lnTo>
                  <a:lnTo>
                    <a:pt x="531590" y="129730"/>
                  </a:lnTo>
                  <a:lnTo>
                    <a:pt x="531590" y="138017"/>
                  </a:lnTo>
                  <a:lnTo>
                    <a:pt x="549307" y="138017"/>
                  </a:lnTo>
                  <a:lnTo>
                    <a:pt x="549307" y="146495"/>
                  </a:lnTo>
                  <a:lnTo>
                    <a:pt x="596551" y="146495"/>
                  </a:lnTo>
                  <a:lnTo>
                    <a:pt x="596551" y="154877"/>
                  </a:lnTo>
                  <a:lnTo>
                    <a:pt x="626078" y="154877"/>
                  </a:lnTo>
                  <a:lnTo>
                    <a:pt x="626078" y="163259"/>
                  </a:lnTo>
                  <a:lnTo>
                    <a:pt x="673322" y="163259"/>
                  </a:lnTo>
                  <a:lnTo>
                    <a:pt x="673322" y="171736"/>
                  </a:lnTo>
                  <a:lnTo>
                    <a:pt x="785527" y="171736"/>
                  </a:lnTo>
                  <a:lnTo>
                    <a:pt x="785527" y="180213"/>
                  </a:lnTo>
                  <a:lnTo>
                    <a:pt x="797338" y="180213"/>
                  </a:lnTo>
                  <a:lnTo>
                    <a:pt x="797338" y="188881"/>
                  </a:lnTo>
                  <a:lnTo>
                    <a:pt x="844582" y="188881"/>
                  </a:lnTo>
                  <a:lnTo>
                    <a:pt x="844582" y="197358"/>
                  </a:lnTo>
                  <a:lnTo>
                    <a:pt x="874014" y="197358"/>
                  </a:lnTo>
                  <a:lnTo>
                    <a:pt x="874014" y="205835"/>
                  </a:lnTo>
                  <a:lnTo>
                    <a:pt x="909542" y="205835"/>
                  </a:lnTo>
                  <a:lnTo>
                    <a:pt x="909542" y="214408"/>
                  </a:lnTo>
                  <a:lnTo>
                    <a:pt x="927164" y="214408"/>
                  </a:lnTo>
                  <a:lnTo>
                    <a:pt x="927164" y="222885"/>
                  </a:lnTo>
                  <a:lnTo>
                    <a:pt x="1004126" y="222885"/>
                  </a:lnTo>
                  <a:lnTo>
                    <a:pt x="1004126" y="231553"/>
                  </a:lnTo>
                  <a:lnTo>
                    <a:pt x="1116235" y="231553"/>
                  </a:lnTo>
                  <a:lnTo>
                    <a:pt x="1116235" y="240316"/>
                  </a:lnTo>
                  <a:lnTo>
                    <a:pt x="1128046" y="240316"/>
                  </a:lnTo>
                  <a:lnTo>
                    <a:pt x="1128046" y="249174"/>
                  </a:lnTo>
                  <a:lnTo>
                    <a:pt x="1252061" y="249174"/>
                  </a:lnTo>
                  <a:lnTo>
                    <a:pt x="1252061" y="267176"/>
                  </a:lnTo>
                  <a:lnTo>
                    <a:pt x="1263777" y="267176"/>
                  </a:lnTo>
                  <a:lnTo>
                    <a:pt x="1263777" y="276130"/>
                  </a:lnTo>
                  <a:lnTo>
                    <a:pt x="1376077" y="276130"/>
                  </a:lnTo>
                  <a:lnTo>
                    <a:pt x="1376077" y="285274"/>
                  </a:lnTo>
                  <a:lnTo>
                    <a:pt x="1399699" y="285274"/>
                  </a:lnTo>
                  <a:lnTo>
                    <a:pt x="1399699" y="294418"/>
                  </a:lnTo>
                  <a:lnTo>
                    <a:pt x="1411415" y="294418"/>
                  </a:lnTo>
                  <a:lnTo>
                    <a:pt x="1411415" y="303657"/>
                  </a:lnTo>
                  <a:lnTo>
                    <a:pt x="1499997" y="303657"/>
                  </a:lnTo>
                  <a:lnTo>
                    <a:pt x="1499997" y="312801"/>
                  </a:lnTo>
                  <a:lnTo>
                    <a:pt x="1511808" y="312801"/>
                  </a:lnTo>
                  <a:lnTo>
                    <a:pt x="1511808" y="321945"/>
                  </a:lnTo>
                  <a:lnTo>
                    <a:pt x="1582674" y="321945"/>
                  </a:lnTo>
                  <a:lnTo>
                    <a:pt x="1582674" y="331184"/>
                  </a:lnTo>
                  <a:lnTo>
                    <a:pt x="1618202" y="331184"/>
                  </a:lnTo>
                  <a:lnTo>
                    <a:pt x="1618202" y="340424"/>
                  </a:lnTo>
                  <a:lnTo>
                    <a:pt x="1624108" y="340424"/>
                  </a:lnTo>
                  <a:lnTo>
                    <a:pt x="1624108" y="349663"/>
                  </a:lnTo>
                  <a:lnTo>
                    <a:pt x="1700784" y="349663"/>
                  </a:lnTo>
                  <a:lnTo>
                    <a:pt x="1700784" y="358997"/>
                  </a:lnTo>
                  <a:lnTo>
                    <a:pt x="1706690" y="358997"/>
                  </a:lnTo>
                  <a:lnTo>
                    <a:pt x="1706690" y="386810"/>
                  </a:lnTo>
                  <a:lnTo>
                    <a:pt x="1866233" y="386810"/>
                  </a:lnTo>
                  <a:lnTo>
                    <a:pt x="1866233" y="396240"/>
                  </a:lnTo>
                  <a:lnTo>
                    <a:pt x="2090642" y="396240"/>
                  </a:lnTo>
                  <a:lnTo>
                    <a:pt x="2090642" y="405860"/>
                  </a:lnTo>
                  <a:lnTo>
                    <a:pt x="2131886" y="405860"/>
                  </a:lnTo>
                  <a:lnTo>
                    <a:pt x="2131886" y="415481"/>
                  </a:lnTo>
                  <a:lnTo>
                    <a:pt x="2250091" y="415481"/>
                  </a:lnTo>
                  <a:lnTo>
                    <a:pt x="2250091" y="425291"/>
                  </a:lnTo>
                  <a:lnTo>
                    <a:pt x="2267807" y="425291"/>
                  </a:lnTo>
                  <a:lnTo>
                    <a:pt x="2267807" y="434912"/>
                  </a:lnTo>
                  <a:lnTo>
                    <a:pt x="2297144" y="434912"/>
                  </a:lnTo>
                  <a:lnTo>
                    <a:pt x="2297144" y="444722"/>
                  </a:lnTo>
                  <a:lnTo>
                    <a:pt x="2368106" y="444722"/>
                  </a:lnTo>
                  <a:lnTo>
                    <a:pt x="2368106" y="454438"/>
                  </a:lnTo>
                  <a:lnTo>
                    <a:pt x="2450783" y="454438"/>
                  </a:lnTo>
                  <a:lnTo>
                    <a:pt x="2450783" y="464344"/>
                  </a:lnTo>
                  <a:lnTo>
                    <a:pt x="2551271" y="464344"/>
                  </a:lnTo>
                  <a:lnTo>
                    <a:pt x="2551271" y="474155"/>
                  </a:lnTo>
                  <a:lnTo>
                    <a:pt x="2598420" y="474155"/>
                  </a:lnTo>
                  <a:lnTo>
                    <a:pt x="2598420" y="484060"/>
                  </a:lnTo>
                  <a:lnTo>
                    <a:pt x="2610231" y="484060"/>
                  </a:lnTo>
                  <a:lnTo>
                    <a:pt x="2610231" y="494062"/>
                  </a:lnTo>
                  <a:lnTo>
                    <a:pt x="2633853" y="494062"/>
                  </a:lnTo>
                  <a:lnTo>
                    <a:pt x="2633853" y="513874"/>
                  </a:lnTo>
                  <a:lnTo>
                    <a:pt x="2645759" y="513874"/>
                  </a:lnTo>
                  <a:lnTo>
                    <a:pt x="2645759" y="523685"/>
                  </a:lnTo>
                  <a:lnTo>
                    <a:pt x="2858262" y="523685"/>
                  </a:lnTo>
                  <a:lnTo>
                    <a:pt x="2858262" y="533686"/>
                  </a:lnTo>
                  <a:lnTo>
                    <a:pt x="2958751" y="533686"/>
                  </a:lnTo>
                  <a:lnTo>
                    <a:pt x="2958751" y="543878"/>
                  </a:lnTo>
                  <a:lnTo>
                    <a:pt x="3029522" y="543878"/>
                  </a:lnTo>
                  <a:lnTo>
                    <a:pt x="3029522" y="564452"/>
                  </a:lnTo>
                  <a:lnTo>
                    <a:pt x="3076671" y="564452"/>
                  </a:lnTo>
                  <a:lnTo>
                    <a:pt x="3076671" y="574739"/>
                  </a:lnTo>
                  <a:lnTo>
                    <a:pt x="3112199" y="574739"/>
                  </a:lnTo>
                  <a:lnTo>
                    <a:pt x="3112199" y="585026"/>
                  </a:lnTo>
                  <a:lnTo>
                    <a:pt x="3153632" y="585026"/>
                  </a:lnTo>
                  <a:lnTo>
                    <a:pt x="3153632" y="595313"/>
                  </a:lnTo>
                  <a:lnTo>
                    <a:pt x="3254026" y="595313"/>
                  </a:lnTo>
                  <a:lnTo>
                    <a:pt x="3254026" y="605600"/>
                  </a:lnTo>
                  <a:lnTo>
                    <a:pt x="3620167" y="605600"/>
                  </a:lnTo>
                  <a:lnTo>
                    <a:pt x="3620167" y="616077"/>
                  </a:lnTo>
                  <a:lnTo>
                    <a:pt x="3649694" y="616077"/>
                  </a:lnTo>
                  <a:lnTo>
                    <a:pt x="3649694" y="626650"/>
                  </a:lnTo>
                  <a:lnTo>
                    <a:pt x="3826859" y="626650"/>
                  </a:lnTo>
                  <a:lnTo>
                    <a:pt x="3826859" y="637127"/>
                  </a:lnTo>
                  <a:lnTo>
                    <a:pt x="3992213" y="637127"/>
                  </a:lnTo>
                  <a:lnTo>
                    <a:pt x="3992213" y="647795"/>
                  </a:lnTo>
                  <a:lnTo>
                    <a:pt x="4181094" y="647795"/>
                  </a:lnTo>
                  <a:lnTo>
                    <a:pt x="4181094" y="658559"/>
                  </a:lnTo>
                  <a:lnTo>
                    <a:pt x="4204811" y="658559"/>
                  </a:lnTo>
                  <a:lnTo>
                    <a:pt x="4204811" y="669227"/>
                  </a:lnTo>
                  <a:lnTo>
                    <a:pt x="4228243" y="669227"/>
                  </a:lnTo>
                  <a:lnTo>
                    <a:pt x="4228243" y="679895"/>
                  </a:lnTo>
                  <a:lnTo>
                    <a:pt x="4352354" y="679895"/>
                  </a:lnTo>
                  <a:lnTo>
                    <a:pt x="4352354" y="690658"/>
                  </a:lnTo>
                  <a:lnTo>
                    <a:pt x="4381881" y="690658"/>
                  </a:lnTo>
                  <a:lnTo>
                    <a:pt x="4381881" y="701326"/>
                  </a:lnTo>
                  <a:lnTo>
                    <a:pt x="4470368" y="701326"/>
                  </a:lnTo>
                  <a:lnTo>
                    <a:pt x="4470368" y="711994"/>
                  </a:lnTo>
                  <a:lnTo>
                    <a:pt x="4482275" y="711994"/>
                  </a:lnTo>
                  <a:lnTo>
                    <a:pt x="4482275" y="722757"/>
                  </a:lnTo>
                  <a:lnTo>
                    <a:pt x="4493991" y="722757"/>
                  </a:lnTo>
                  <a:lnTo>
                    <a:pt x="4493991" y="733520"/>
                  </a:lnTo>
                  <a:lnTo>
                    <a:pt x="4724400" y="733520"/>
                  </a:lnTo>
                  <a:lnTo>
                    <a:pt x="4724400" y="756095"/>
                  </a:lnTo>
                  <a:lnTo>
                    <a:pt x="4972431" y="756095"/>
                  </a:lnTo>
                  <a:lnTo>
                    <a:pt x="4972431" y="769811"/>
                  </a:lnTo>
                  <a:lnTo>
                    <a:pt x="5072825" y="769811"/>
                  </a:lnTo>
                  <a:lnTo>
                    <a:pt x="5072825" y="784098"/>
                  </a:lnTo>
                  <a:lnTo>
                    <a:pt x="5108163" y="784098"/>
                  </a:lnTo>
                  <a:lnTo>
                    <a:pt x="5108163" y="813816"/>
                  </a:lnTo>
                  <a:lnTo>
                    <a:pt x="5208747" y="813816"/>
                  </a:lnTo>
                  <a:lnTo>
                    <a:pt x="5208747" y="828770"/>
                  </a:lnTo>
                  <a:lnTo>
                    <a:pt x="5480304" y="828770"/>
                  </a:lnTo>
                  <a:lnTo>
                    <a:pt x="5480304" y="850392"/>
                  </a:lnTo>
                  <a:lnTo>
                    <a:pt x="5521643" y="850392"/>
                  </a:lnTo>
                  <a:lnTo>
                    <a:pt x="5521643" y="875062"/>
                  </a:lnTo>
                  <a:lnTo>
                    <a:pt x="5633847" y="875062"/>
                  </a:lnTo>
                  <a:lnTo>
                    <a:pt x="5633847" y="905542"/>
                  </a:lnTo>
                  <a:lnTo>
                    <a:pt x="5964555" y="905542"/>
                  </a:lnTo>
                  <a:lnTo>
                    <a:pt x="5964555" y="945737"/>
                  </a:lnTo>
                  <a:lnTo>
                    <a:pt x="6578728" y="945737"/>
                  </a:lnTo>
                  <a:lnTo>
                    <a:pt x="6578728" y="1083564"/>
                  </a:lnTo>
                  <a:lnTo>
                    <a:pt x="7192899" y="1083564"/>
                  </a:ln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0" name="Freeform: Shape 549">
              <a:extLst>
                <a:ext uri="{FF2B5EF4-FFF2-40B4-BE49-F238E27FC236}">
                  <a16:creationId xmlns:a16="http://schemas.microsoft.com/office/drawing/2014/main" id="{FF2C0F80-291A-FDD1-0316-5FF15520CD1F}"/>
                </a:ext>
              </a:extLst>
            </p:cNvPr>
            <p:cNvSpPr/>
            <p:nvPr/>
          </p:nvSpPr>
          <p:spPr>
            <a:xfrm>
              <a:off x="4378531" y="-2448502"/>
              <a:ext cx="7133463" cy="1552193"/>
            </a:xfrm>
            <a:custGeom>
              <a:avLst/>
              <a:gdLst>
                <a:gd name="connsiteX0" fmla="*/ 0 w 7133463"/>
                <a:gd name="connsiteY0" fmla="*/ 0 h 1552193"/>
                <a:gd name="connsiteX1" fmla="*/ 17812 w 7133463"/>
                <a:gd name="connsiteY1" fmla="*/ 0 h 1552193"/>
                <a:gd name="connsiteX2" fmla="*/ 17812 w 7133463"/>
                <a:gd name="connsiteY2" fmla="*/ 8001 h 1552193"/>
                <a:gd name="connsiteX3" fmla="*/ 130016 w 7133463"/>
                <a:gd name="connsiteY3" fmla="*/ 8001 h 1552193"/>
                <a:gd name="connsiteX4" fmla="*/ 130016 w 7133463"/>
                <a:gd name="connsiteY4" fmla="*/ 23908 h 1552193"/>
                <a:gd name="connsiteX5" fmla="*/ 135922 w 7133463"/>
                <a:gd name="connsiteY5" fmla="*/ 23908 h 1552193"/>
                <a:gd name="connsiteX6" fmla="*/ 135922 w 7133463"/>
                <a:gd name="connsiteY6" fmla="*/ 47816 h 1552193"/>
                <a:gd name="connsiteX7" fmla="*/ 141732 w 7133463"/>
                <a:gd name="connsiteY7" fmla="*/ 47816 h 1552193"/>
                <a:gd name="connsiteX8" fmla="*/ 141732 w 7133463"/>
                <a:gd name="connsiteY8" fmla="*/ 55817 h 1552193"/>
                <a:gd name="connsiteX9" fmla="*/ 147733 w 7133463"/>
                <a:gd name="connsiteY9" fmla="*/ 55817 h 1552193"/>
                <a:gd name="connsiteX10" fmla="*/ 147733 w 7133463"/>
                <a:gd name="connsiteY10" fmla="*/ 63722 h 1552193"/>
                <a:gd name="connsiteX11" fmla="*/ 153638 w 7133463"/>
                <a:gd name="connsiteY11" fmla="*/ 63722 h 1552193"/>
                <a:gd name="connsiteX12" fmla="*/ 153638 w 7133463"/>
                <a:gd name="connsiteY12" fmla="*/ 71819 h 1552193"/>
                <a:gd name="connsiteX13" fmla="*/ 218599 w 7133463"/>
                <a:gd name="connsiteY13" fmla="*/ 71819 h 1552193"/>
                <a:gd name="connsiteX14" fmla="*/ 218599 w 7133463"/>
                <a:gd name="connsiteY14" fmla="*/ 79820 h 1552193"/>
                <a:gd name="connsiteX15" fmla="*/ 224600 w 7133463"/>
                <a:gd name="connsiteY15" fmla="*/ 79820 h 1552193"/>
                <a:gd name="connsiteX16" fmla="*/ 224600 w 7133463"/>
                <a:gd name="connsiteY16" fmla="*/ 87821 h 1552193"/>
                <a:gd name="connsiteX17" fmla="*/ 230315 w 7133463"/>
                <a:gd name="connsiteY17" fmla="*/ 87821 h 1552193"/>
                <a:gd name="connsiteX18" fmla="*/ 230315 w 7133463"/>
                <a:gd name="connsiteY18" fmla="*/ 103727 h 1552193"/>
                <a:gd name="connsiteX19" fmla="*/ 242126 w 7133463"/>
                <a:gd name="connsiteY19" fmla="*/ 103727 h 1552193"/>
                <a:gd name="connsiteX20" fmla="*/ 242126 w 7133463"/>
                <a:gd name="connsiteY20" fmla="*/ 119729 h 1552193"/>
                <a:gd name="connsiteX21" fmla="*/ 254032 w 7133463"/>
                <a:gd name="connsiteY21" fmla="*/ 119729 h 1552193"/>
                <a:gd name="connsiteX22" fmla="*/ 254032 w 7133463"/>
                <a:gd name="connsiteY22" fmla="*/ 135731 h 1552193"/>
                <a:gd name="connsiteX23" fmla="*/ 259842 w 7133463"/>
                <a:gd name="connsiteY23" fmla="*/ 135731 h 1552193"/>
                <a:gd name="connsiteX24" fmla="*/ 259842 w 7133463"/>
                <a:gd name="connsiteY24" fmla="*/ 143732 h 1552193"/>
                <a:gd name="connsiteX25" fmla="*/ 271748 w 7133463"/>
                <a:gd name="connsiteY25" fmla="*/ 143732 h 1552193"/>
                <a:gd name="connsiteX26" fmla="*/ 271748 w 7133463"/>
                <a:gd name="connsiteY26" fmla="*/ 151829 h 1552193"/>
                <a:gd name="connsiteX27" fmla="*/ 301276 w 7133463"/>
                <a:gd name="connsiteY27" fmla="*/ 151829 h 1552193"/>
                <a:gd name="connsiteX28" fmla="*/ 301276 w 7133463"/>
                <a:gd name="connsiteY28" fmla="*/ 159830 h 1552193"/>
                <a:gd name="connsiteX29" fmla="*/ 307181 w 7133463"/>
                <a:gd name="connsiteY29" fmla="*/ 159830 h 1552193"/>
                <a:gd name="connsiteX30" fmla="*/ 307181 w 7133463"/>
                <a:gd name="connsiteY30" fmla="*/ 168021 h 1552193"/>
                <a:gd name="connsiteX31" fmla="*/ 342519 w 7133463"/>
                <a:gd name="connsiteY31" fmla="*/ 168021 h 1552193"/>
                <a:gd name="connsiteX32" fmla="*/ 342519 w 7133463"/>
                <a:gd name="connsiteY32" fmla="*/ 176117 h 1552193"/>
                <a:gd name="connsiteX33" fmla="*/ 377952 w 7133463"/>
                <a:gd name="connsiteY33" fmla="*/ 176117 h 1552193"/>
                <a:gd name="connsiteX34" fmla="*/ 377952 w 7133463"/>
                <a:gd name="connsiteY34" fmla="*/ 184118 h 1552193"/>
                <a:gd name="connsiteX35" fmla="*/ 395764 w 7133463"/>
                <a:gd name="connsiteY35" fmla="*/ 184118 h 1552193"/>
                <a:gd name="connsiteX36" fmla="*/ 395764 w 7133463"/>
                <a:gd name="connsiteY36" fmla="*/ 192310 h 1552193"/>
                <a:gd name="connsiteX37" fmla="*/ 437007 w 7133463"/>
                <a:gd name="connsiteY37" fmla="*/ 192310 h 1552193"/>
                <a:gd name="connsiteX38" fmla="*/ 437007 w 7133463"/>
                <a:gd name="connsiteY38" fmla="*/ 200406 h 1552193"/>
                <a:gd name="connsiteX39" fmla="*/ 502063 w 7133463"/>
                <a:gd name="connsiteY39" fmla="*/ 200406 h 1552193"/>
                <a:gd name="connsiteX40" fmla="*/ 502063 w 7133463"/>
                <a:gd name="connsiteY40" fmla="*/ 216789 h 1552193"/>
                <a:gd name="connsiteX41" fmla="*/ 507968 w 7133463"/>
                <a:gd name="connsiteY41" fmla="*/ 216789 h 1552193"/>
                <a:gd name="connsiteX42" fmla="*/ 507968 w 7133463"/>
                <a:gd name="connsiteY42" fmla="*/ 224981 h 1552193"/>
                <a:gd name="connsiteX43" fmla="*/ 519684 w 7133463"/>
                <a:gd name="connsiteY43" fmla="*/ 224981 h 1552193"/>
                <a:gd name="connsiteX44" fmla="*/ 519684 w 7133463"/>
                <a:gd name="connsiteY44" fmla="*/ 233267 h 1552193"/>
                <a:gd name="connsiteX45" fmla="*/ 543401 w 7133463"/>
                <a:gd name="connsiteY45" fmla="*/ 233267 h 1552193"/>
                <a:gd name="connsiteX46" fmla="*/ 543401 w 7133463"/>
                <a:gd name="connsiteY46" fmla="*/ 241364 h 1552193"/>
                <a:gd name="connsiteX47" fmla="*/ 590645 w 7133463"/>
                <a:gd name="connsiteY47" fmla="*/ 241364 h 1552193"/>
                <a:gd name="connsiteX48" fmla="*/ 590645 w 7133463"/>
                <a:gd name="connsiteY48" fmla="*/ 249650 h 1552193"/>
                <a:gd name="connsiteX49" fmla="*/ 637889 w 7133463"/>
                <a:gd name="connsiteY49" fmla="*/ 249650 h 1552193"/>
                <a:gd name="connsiteX50" fmla="*/ 637889 w 7133463"/>
                <a:gd name="connsiteY50" fmla="*/ 258032 h 1552193"/>
                <a:gd name="connsiteX51" fmla="*/ 643795 w 7133463"/>
                <a:gd name="connsiteY51" fmla="*/ 258032 h 1552193"/>
                <a:gd name="connsiteX52" fmla="*/ 643795 w 7133463"/>
                <a:gd name="connsiteY52" fmla="*/ 274510 h 1552193"/>
                <a:gd name="connsiteX53" fmla="*/ 649700 w 7133463"/>
                <a:gd name="connsiteY53" fmla="*/ 274510 h 1552193"/>
                <a:gd name="connsiteX54" fmla="*/ 649700 w 7133463"/>
                <a:gd name="connsiteY54" fmla="*/ 282893 h 1552193"/>
                <a:gd name="connsiteX55" fmla="*/ 655606 w 7133463"/>
                <a:gd name="connsiteY55" fmla="*/ 282893 h 1552193"/>
                <a:gd name="connsiteX56" fmla="*/ 655606 w 7133463"/>
                <a:gd name="connsiteY56" fmla="*/ 291179 h 1552193"/>
                <a:gd name="connsiteX57" fmla="*/ 714661 w 7133463"/>
                <a:gd name="connsiteY57" fmla="*/ 291179 h 1552193"/>
                <a:gd name="connsiteX58" fmla="*/ 714661 w 7133463"/>
                <a:gd name="connsiteY58" fmla="*/ 299466 h 1552193"/>
                <a:gd name="connsiteX59" fmla="*/ 732282 w 7133463"/>
                <a:gd name="connsiteY59" fmla="*/ 299466 h 1552193"/>
                <a:gd name="connsiteX60" fmla="*/ 732282 w 7133463"/>
                <a:gd name="connsiteY60" fmla="*/ 307848 h 1552193"/>
                <a:gd name="connsiteX61" fmla="*/ 749999 w 7133463"/>
                <a:gd name="connsiteY61" fmla="*/ 307848 h 1552193"/>
                <a:gd name="connsiteX62" fmla="*/ 749999 w 7133463"/>
                <a:gd name="connsiteY62" fmla="*/ 324422 h 1552193"/>
                <a:gd name="connsiteX63" fmla="*/ 755904 w 7133463"/>
                <a:gd name="connsiteY63" fmla="*/ 324422 h 1552193"/>
                <a:gd name="connsiteX64" fmla="*/ 755904 w 7133463"/>
                <a:gd name="connsiteY64" fmla="*/ 332708 h 1552193"/>
                <a:gd name="connsiteX65" fmla="*/ 767810 w 7133463"/>
                <a:gd name="connsiteY65" fmla="*/ 332708 h 1552193"/>
                <a:gd name="connsiteX66" fmla="*/ 767810 w 7133463"/>
                <a:gd name="connsiteY66" fmla="*/ 340995 h 1552193"/>
                <a:gd name="connsiteX67" fmla="*/ 809149 w 7133463"/>
                <a:gd name="connsiteY67" fmla="*/ 340995 h 1552193"/>
                <a:gd name="connsiteX68" fmla="*/ 809149 w 7133463"/>
                <a:gd name="connsiteY68" fmla="*/ 349472 h 1552193"/>
                <a:gd name="connsiteX69" fmla="*/ 826770 w 7133463"/>
                <a:gd name="connsiteY69" fmla="*/ 349472 h 1552193"/>
                <a:gd name="connsiteX70" fmla="*/ 826770 w 7133463"/>
                <a:gd name="connsiteY70" fmla="*/ 357759 h 1552193"/>
                <a:gd name="connsiteX71" fmla="*/ 862298 w 7133463"/>
                <a:gd name="connsiteY71" fmla="*/ 357759 h 1552193"/>
                <a:gd name="connsiteX72" fmla="*/ 862298 w 7133463"/>
                <a:gd name="connsiteY72" fmla="*/ 366046 h 1552193"/>
                <a:gd name="connsiteX73" fmla="*/ 874014 w 7133463"/>
                <a:gd name="connsiteY73" fmla="*/ 366046 h 1552193"/>
                <a:gd name="connsiteX74" fmla="*/ 874014 w 7133463"/>
                <a:gd name="connsiteY74" fmla="*/ 374428 h 1552193"/>
                <a:gd name="connsiteX75" fmla="*/ 897636 w 7133463"/>
                <a:gd name="connsiteY75" fmla="*/ 374428 h 1552193"/>
                <a:gd name="connsiteX76" fmla="*/ 897636 w 7133463"/>
                <a:gd name="connsiteY76" fmla="*/ 382810 h 1552193"/>
                <a:gd name="connsiteX77" fmla="*/ 909542 w 7133463"/>
                <a:gd name="connsiteY77" fmla="*/ 382810 h 1552193"/>
                <a:gd name="connsiteX78" fmla="*/ 909542 w 7133463"/>
                <a:gd name="connsiteY78" fmla="*/ 391097 h 1552193"/>
                <a:gd name="connsiteX79" fmla="*/ 944975 w 7133463"/>
                <a:gd name="connsiteY79" fmla="*/ 391097 h 1552193"/>
                <a:gd name="connsiteX80" fmla="*/ 944975 w 7133463"/>
                <a:gd name="connsiteY80" fmla="*/ 399479 h 1552193"/>
                <a:gd name="connsiteX81" fmla="*/ 950690 w 7133463"/>
                <a:gd name="connsiteY81" fmla="*/ 399479 h 1552193"/>
                <a:gd name="connsiteX82" fmla="*/ 950690 w 7133463"/>
                <a:gd name="connsiteY82" fmla="*/ 407860 h 1552193"/>
                <a:gd name="connsiteX83" fmla="*/ 980313 w 7133463"/>
                <a:gd name="connsiteY83" fmla="*/ 407860 h 1552193"/>
                <a:gd name="connsiteX84" fmla="*/ 980313 w 7133463"/>
                <a:gd name="connsiteY84" fmla="*/ 416147 h 1552193"/>
                <a:gd name="connsiteX85" fmla="*/ 998030 w 7133463"/>
                <a:gd name="connsiteY85" fmla="*/ 416147 h 1552193"/>
                <a:gd name="connsiteX86" fmla="*/ 998030 w 7133463"/>
                <a:gd name="connsiteY86" fmla="*/ 424625 h 1552193"/>
                <a:gd name="connsiteX87" fmla="*/ 1015746 w 7133463"/>
                <a:gd name="connsiteY87" fmla="*/ 424625 h 1552193"/>
                <a:gd name="connsiteX88" fmla="*/ 1015746 w 7133463"/>
                <a:gd name="connsiteY88" fmla="*/ 432911 h 1552193"/>
                <a:gd name="connsiteX89" fmla="*/ 1086707 w 7133463"/>
                <a:gd name="connsiteY89" fmla="*/ 432911 h 1552193"/>
                <a:gd name="connsiteX90" fmla="*/ 1086707 w 7133463"/>
                <a:gd name="connsiteY90" fmla="*/ 441389 h 1552193"/>
                <a:gd name="connsiteX91" fmla="*/ 1104424 w 7133463"/>
                <a:gd name="connsiteY91" fmla="*/ 441389 h 1552193"/>
                <a:gd name="connsiteX92" fmla="*/ 1104424 w 7133463"/>
                <a:gd name="connsiteY92" fmla="*/ 449771 h 1552193"/>
                <a:gd name="connsiteX93" fmla="*/ 1121950 w 7133463"/>
                <a:gd name="connsiteY93" fmla="*/ 449771 h 1552193"/>
                <a:gd name="connsiteX94" fmla="*/ 1121950 w 7133463"/>
                <a:gd name="connsiteY94" fmla="*/ 458248 h 1552193"/>
                <a:gd name="connsiteX95" fmla="*/ 1127951 w 7133463"/>
                <a:gd name="connsiteY95" fmla="*/ 458248 h 1552193"/>
                <a:gd name="connsiteX96" fmla="*/ 1127951 w 7133463"/>
                <a:gd name="connsiteY96" fmla="*/ 466820 h 1552193"/>
                <a:gd name="connsiteX97" fmla="*/ 1145667 w 7133463"/>
                <a:gd name="connsiteY97" fmla="*/ 466820 h 1552193"/>
                <a:gd name="connsiteX98" fmla="*/ 1145667 w 7133463"/>
                <a:gd name="connsiteY98" fmla="*/ 475202 h 1552193"/>
                <a:gd name="connsiteX99" fmla="*/ 1157478 w 7133463"/>
                <a:gd name="connsiteY99" fmla="*/ 475202 h 1552193"/>
                <a:gd name="connsiteX100" fmla="*/ 1157478 w 7133463"/>
                <a:gd name="connsiteY100" fmla="*/ 492252 h 1552193"/>
                <a:gd name="connsiteX101" fmla="*/ 1175290 w 7133463"/>
                <a:gd name="connsiteY101" fmla="*/ 492252 h 1552193"/>
                <a:gd name="connsiteX102" fmla="*/ 1175290 w 7133463"/>
                <a:gd name="connsiteY102" fmla="*/ 509207 h 1552193"/>
                <a:gd name="connsiteX103" fmla="*/ 1181100 w 7133463"/>
                <a:gd name="connsiteY103" fmla="*/ 509207 h 1552193"/>
                <a:gd name="connsiteX104" fmla="*/ 1181100 w 7133463"/>
                <a:gd name="connsiteY104" fmla="*/ 517779 h 1552193"/>
                <a:gd name="connsiteX105" fmla="*/ 1187006 w 7133463"/>
                <a:gd name="connsiteY105" fmla="*/ 517779 h 1552193"/>
                <a:gd name="connsiteX106" fmla="*/ 1187006 w 7133463"/>
                <a:gd name="connsiteY106" fmla="*/ 526161 h 1552193"/>
                <a:gd name="connsiteX107" fmla="*/ 1192911 w 7133463"/>
                <a:gd name="connsiteY107" fmla="*/ 526161 h 1552193"/>
                <a:gd name="connsiteX108" fmla="*/ 1192911 w 7133463"/>
                <a:gd name="connsiteY108" fmla="*/ 534734 h 1552193"/>
                <a:gd name="connsiteX109" fmla="*/ 1240155 w 7133463"/>
                <a:gd name="connsiteY109" fmla="*/ 534734 h 1552193"/>
                <a:gd name="connsiteX110" fmla="*/ 1240155 w 7133463"/>
                <a:gd name="connsiteY110" fmla="*/ 543211 h 1552193"/>
                <a:gd name="connsiteX111" fmla="*/ 1245965 w 7133463"/>
                <a:gd name="connsiteY111" fmla="*/ 543211 h 1552193"/>
                <a:gd name="connsiteX112" fmla="*/ 1245965 w 7133463"/>
                <a:gd name="connsiteY112" fmla="*/ 551688 h 1552193"/>
                <a:gd name="connsiteX113" fmla="*/ 1251966 w 7133463"/>
                <a:gd name="connsiteY113" fmla="*/ 551688 h 1552193"/>
                <a:gd name="connsiteX114" fmla="*/ 1251966 w 7133463"/>
                <a:gd name="connsiteY114" fmla="*/ 568643 h 1552193"/>
                <a:gd name="connsiteX115" fmla="*/ 1257872 w 7133463"/>
                <a:gd name="connsiteY115" fmla="*/ 568643 h 1552193"/>
                <a:gd name="connsiteX116" fmla="*/ 1257872 w 7133463"/>
                <a:gd name="connsiteY116" fmla="*/ 585692 h 1552193"/>
                <a:gd name="connsiteX117" fmla="*/ 1263682 w 7133463"/>
                <a:gd name="connsiteY117" fmla="*/ 585692 h 1552193"/>
                <a:gd name="connsiteX118" fmla="*/ 1263682 w 7133463"/>
                <a:gd name="connsiteY118" fmla="*/ 594170 h 1552193"/>
                <a:gd name="connsiteX119" fmla="*/ 1358265 w 7133463"/>
                <a:gd name="connsiteY119" fmla="*/ 594170 h 1552193"/>
                <a:gd name="connsiteX120" fmla="*/ 1358265 w 7133463"/>
                <a:gd name="connsiteY120" fmla="*/ 602837 h 1552193"/>
                <a:gd name="connsiteX121" fmla="*/ 1393603 w 7133463"/>
                <a:gd name="connsiteY121" fmla="*/ 602837 h 1552193"/>
                <a:gd name="connsiteX122" fmla="*/ 1393603 w 7133463"/>
                <a:gd name="connsiteY122" fmla="*/ 620173 h 1552193"/>
                <a:gd name="connsiteX123" fmla="*/ 1505903 w 7133463"/>
                <a:gd name="connsiteY123" fmla="*/ 620173 h 1552193"/>
                <a:gd name="connsiteX124" fmla="*/ 1505903 w 7133463"/>
                <a:gd name="connsiteY124" fmla="*/ 637699 h 1552193"/>
                <a:gd name="connsiteX125" fmla="*/ 1511808 w 7133463"/>
                <a:gd name="connsiteY125" fmla="*/ 637699 h 1552193"/>
                <a:gd name="connsiteX126" fmla="*/ 1511808 w 7133463"/>
                <a:gd name="connsiteY126" fmla="*/ 655130 h 1552193"/>
                <a:gd name="connsiteX127" fmla="*/ 1547241 w 7133463"/>
                <a:gd name="connsiteY127" fmla="*/ 655130 h 1552193"/>
                <a:gd name="connsiteX128" fmla="*/ 1547241 w 7133463"/>
                <a:gd name="connsiteY128" fmla="*/ 663893 h 1552193"/>
                <a:gd name="connsiteX129" fmla="*/ 1612106 w 7133463"/>
                <a:gd name="connsiteY129" fmla="*/ 663893 h 1552193"/>
                <a:gd name="connsiteX130" fmla="*/ 1612106 w 7133463"/>
                <a:gd name="connsiteY130" fmla="*/ 672751 h 1552193"/>
                <a:gd name="connsiteX131" fmla="*/ 1624013 w 7133463"/>
                <a:gd name="connsiteY131" fmla="*/ 672751 h 1552193"/>
                <a:gd name="connsiteX132" fmla="*/ 1624013 w 7133463"/>
                <a:gd name="connsiteY132" fmla="*/ 681419 h 1552193"/>
                <a:gd name="connsiteX133" fmla="*/ 1635728 w 7133463"/>
                <a:gd name="connsiteY133" fmla="*/ 681419 h 1552193"/>
                <a:gd name="connsiteX134" fmla="*/ 1635728 w 7133463"/>
                <a:gd name="connsiteY134" fmla="*/ 690277 h 1552193"/>
                <a:gd name="connsiteX135" fmla="*/ 1659446 w 7133463"/>
                <a:gd name="connsiteY135" fmla="*/ 690277 h 1552193"/>
                <a:gd name="connsiteX136" fmla="*/ 1659446 w 7133463"/>
                <a:gd name="connsiteY136" fmla="*/ 699040 h 1552193"/>
                <a:gd name="connsiteX137" fmla="*/ 1665446 w 7133463"/>
                <a:gd name="connsiteY137" fmla="*/ 699040 h 1552193"/>
                <a:gd name="connsiteX138" fmla="*/ 1665446 w 7133463"/>
                <a:gd name="connsiteY138" fmla="*/ 716566 h 1552193"/>
                <a:gd name="connsiteX139" fmla="*/ 1700689 w 7133463"/>
                <a:gd name="connsiteY139" fmla="*/ 716566 h 1552193"/>
                <a:gd name="connsiteX140" fmla="*/ 1700689 w 7133463"/>
                <a:gd name="connsiteY140" fmla="*/ 725424 h 1552193"/>
                <a:gd name="connsiteX141" fmla="*/ 1765745 w 7133463"/>
                <a:gd name="connsiteY141" fmla="*/ 725424 h 1552193"/>
                <a:gd name="connsiteX142" fmla="*/ 1765745 w 7133463"/>
                <a:gd name="connsiteY142" fmla="*/ 742950 h 1552193"/>
                <a:gd name="connsiteX143" fmla="*/ 1795272 w 7133463"/>
                <a:gd name="connsiteY143" fmla="*/ 742950 h 1552193"/>
                <a:gd name="connsiteX144" fmla="*/ 1795272 w 7133463"/>
                <a:gd name="connsiteY144" fmla="*/ 751713 h 1552193"/>
                <a:gd name="connsiteX145" fmla="*/ 1801178 w 7133463"/>
                <a:gd name="connsiteY145" fmla="*/ 751713 h 1552193"/>
                <a:gd name="connsiteX146" fmla="*/ 1801178 w 7133463"/>
                <a:gd name="connsiteY146" fmla="*/ 760476 h 1552193"/>
                <a:gd name="connsiteX147" fmla="*/ 1871948 w 7133463"/>
                <a:gd name="connsiteY147" fmla="*/ 760476 h 1552193"/>
                <a:gd name="connsiteX148" fmla="*/ 1871948 w 7133463"/>
                <a:gd name="connsiteY148" fmla="*/ 787051 h 1552193"/>
                <a:gd name="connsiteX149" fmla="*/ 1883855 w 7133463"/>
                <a:gd name="connsiteY149" fmla="*/ 787051 h 1552193"/>
                <a:gd name="connsiteX150" fmla="*/ 1883855 w 7133463"/>
                <a:gd name="connsiteY150" fmla="*/ 804672 h 1552193"/>
                <a:gd name="connsiteX151" fmla="*/ 1960626 w 7133463"/>
                <a:gd name="connsiteY151" fmla="*/ 804672 h 1552193"/>
                <a:gd name="connsiteX152" fmla="*/ 1960626 w 7133463"/>
                <a:gd name="connsiteY152" fmla="*/ 813626 h 1552193"/>
                <a:gd name="connsiteX153" fmla="*/ 2001869 w 7133463"/>
                <a:gd name="connsiteY153" fmla="*/ 813626 h 1552193"/>
                <a:gd name="connsiteX154" fmla="*/ 2001869 w 7133463"/>
                <a:gd name="connsiteY154" fmla="*/ 831247 h 1552193"/>
                <a:gd name="connsiteX155" fmla="*/ 2037398 w 7133463"/>
                <a:gd name="connsiteY155" fmla="*/ 831247 h 1552193"/>
                <a:gd name="connsiteX156" fmla="*/ 2037398 w 7133463"/>
                <a:gd name="connsiteY156" fmla="*/ 840105 h 1552193"/>
                <a:gd name="connsiteX157" fmla="*/ 2119979 w 7133463"/>
                <a:gd name="connsiteY157" fmla="*/ 840105 h 1552193"/>
                <a:gd name="connsiteX158" fmla="*/ 2119979 w 7133463"/>
                <a:gd name="connsiteY158" fmla="*/ 866680 h 1552193"/>
                <a:gd name="connsiteX159" fmla="*/ 2125790 w 7133463"/>
                <a:gd name="connsiteY159" fmla="*/ 866680 h 1552193"/>
                <a:gd name="connsiteX160" fmla="*/ 2125790 w 7133463"/>
                <a:gd name="connsiteY160" fmla="*/ 875538 h 1552193"/>
                <a:gd name="connsiteX161" fmla="*/ 2137696 w 7133463"/>
                <a:gd name="connsiteY161" fmla="*/ 875538 h 1552193"/>
                <a:gd name="connsiteX162" fmla="*/ 2137696 w 7133463"/>
                <a:gd name="connsiteY162" fmla="*/ 884396 h 1552193"/>
                <a:gd name="connsiteX163" fmla="*/ 2143601 w 7133463"/>
                <a:gd name="connsiteY163" fmla="*/ 884396 h 1552193"/>
                <a:gd name="connsiteX164" fmla="*/ 2143601 w 7133463"/>
                <a:gd name="connsiteY164" fmla="*/ 893159 h 1552193"/>
                <a:gd name="connsiteX165" fmla="*/ 2238185 w 7133463"/>
                <a:gd name="connsiteY165" fmla="*/ 893159 h 1552193"/>
                <a:gd name="connsiteX166" fmla="*/ 2238185 w 7133463"/>
                <a:gd name="connsiteY166" fmla="*/ 910971 h 1552193"/>
                <a:gd name="connsiteX167" fmla="*/ 2243995 w 7133463"/>
                <a:gd name="connsiteY167" fmla="*/ 910971 h 1552193"/>
                <a:gd name="connsiteX168" fmla="*/ 2243995 w 7133463"/>
                <a:gd name="connsiteY168" fmla="*/ 928592 h 1552193"/>
                <a:gd name="connsiteX169" fmla="*/ 2255901 w 7133463"/>
                <a:gd name="connsiteY169" fmla="*/ 928592 h 1552193"/>
                <a:gd name="connsiteX170" fmla="*/ 2255901 w 7133463"/>
                <a:gd name="connsiteY170" fmla="*/ 937451 h 1552193"/>
                <a:gd name="connsiteX171" fmla="*/ 2261807 w 7133463"/>
                <a:gd name="connsiteY171" fmla="*/ 937451 h 1552193"/>
                <a:gd name="connsiteX172" fmla="*/ 2261807 w 7133463"/>
                <a:gd name="connsiteY172" fmla="*/ 946309 h 1552193"/>
                <a:gd name="connsiteX173" fmla="*/ 2279428 w 7133463"/>
                <a:gd name="connsiteY173" fmla="*/ 946309 h 1552193"/>
                <a:gd name="connsiteX174" fmla="*/ 2279428 w 7133463"/>
                <a:gd name="connsiteY174" fmla="*/ 955167 h 1552193"/>
                <a:gd name="connsiteX175" fmla="*/ 2403539 w 7133463"/>
                <a:gd name="connsiteY175" fmla="*/ 955167 h 1552193"/>
                <a:gd name="connsiteX176" fmla="*/ 2403539 w 7133463"/>
                <a:gd name="connsiteY176" fmla="*/ 964121 h 1552193"/>
                <a:gd name="connsiteX177" fmla="*/ 2415159 w 7133463"/>
                <a:gd name="connsiteY177" fmla="*/ 964121 h 1552193"/>
                <a:gd name="connsiteX178" fmla="*/ 2415159 w 7133463"/>
                <a:gd name="connsiteY178" fmla="*/ 973169 h 1552193"/>
                <a:gd name="connsiteX179" fmla="*/ 2421160 w 7133463"/>
                <a:gd name="connsiteY179" fmla="*/ 973169 h 1552193"/>
                <a:gd name="connsiteX180" fmla="*/ 2421160 w 7133463"/>
                <a:gd name="connsiteY180" fmla="*/ 982218 h 1552193"/>
                <a:gd name="connsiteX181" fmla="*/ 2539270 w 7133463"/>
                <a:gd name="connsiteY181" fmla="*/ 982218 h 1552193"/>
                <a:gd name="connsiteX182" fmla="*/ 2539270 w 7133463"/>
                <a:gd name="connsiteY182" fmla="*/ 991172 h 1552193"/>
                <a:gd name="connsiteX183" fmla="*/ 2545271 w 7133463"/>
                <a:gd name="connsiteY183" fmla="*/ 991172 h 1552193"/>
                <a:gd name="connsiteX184" fmla="*/ 2545271 w 7133463"/>
                <a:gd name="connsiteY184" fmla="*/ 1000316 h 1552193"/>
                <a:gd name="connsiteX185" fmla="*/ 2610136 w 7133463"/>
                <a:gd name="connsiteY185" fmla="*/ 1000316 h 1552193"/>
                <a:gd name="connsiteX186" fmla="*/ 2610136 w 7133463"/>
                <a:gd name="connsiteY186" fmla="*/ 1009174 h 1552193"/>
                <a:gd name="connsiteX187" fmla="*/ 2710434 w 7133463"/>
                <a:gd name="connsiteY187" fmla="*/ 1009174 h 1552193"/>
                <a:gd name="connsiteX188" fmla="*/ 2710434 w 7133463"/>
                <a:gd name="connsiteY188" fmla="*/ 1018413 h 1552193"/>
                <a:gd name="connsiteX189" fmla="*/ 2751868 w 7133463"/>
                <a:gd name="connsiteY189" fmla="*/ 1018413 h 1552193"/>
                <a:gd name="connsiteX190" fmla="*/ 2751868 w 7133463"/>
                <a:gd name="connsiteY190" fmla="*/ 1027462 h 1552193"/>
                <a:gd name="connsiteX191" fmla="*/ 2881694 w 7133463"/>
                <a:gd name="connsiteY191" fmla="*/ 1027462 h 1552193"/>
                <a:gd name="connsiteX192" fmla="*/ 2881694 w 7133463"/>
                <a:gd name="connsiteY192" fmla="*/ 1036892 h 1552193"/>
                <a:gd name="connsiteX193" fmla="*/ 2988183 w 7133463"/>
                <a:gd name="connsiteY193" fmla="*/ 1036892 h 1552193"/>
                <a:gd name="connsiteX194" fmla="*/ 2988183 w 7133463"/>
                <a:gd name="connsiteY194" fmla="*/ 1046226 h 1552193"/>
                <a:gd name="connsiteX195" fmla="*/ 2999804 w 7133463"/>
                <a:gd name="connsiteY195" fmla="*/ 1046226 h 1552193"/>
                <a:gd name="connsiteX196" fmla="*/ 2999804 w 7133463"/>
                <a:gd name="connsiteY196" fmla="*/ 1055656 h 1552193"/>
                <a:gd name="connsiteX197" fmla="*/ 3100292 w 7133463"/>
                <a:gd name="connsiteY197" fmla="*/ 1055656 h 1552193"/>
                <a:gd name="connsiteX198" fmla="*/ 3100292 w 7133463"/>
                <a:gd name="connsiteY198" fmla="*/ 1065086 h 1552193"/>
                <a:gd name="connsiteX199" fmla="*/ 3118009 w 7133463"/>
                <a:gd name="connsiteY199" fmla="*/ 1065086 h 1552193"/>
                <a:gd name="connsiteX200" fmla="*/ 3118009 w 7133463"/>
                <a:gd name="connsiteY200" fmla="*/ 1074420 h 1552193"/>
                <a:gd name="connsiteX201" fmla="*/ 3153442 w 7133463"/>
                <a:gd name="connsiteY201" fmla="*/ 1074420 h 1552193"/>
                <a:gd name="connsiteX202" fmla="*/ 3153442 w 7133463"/>
                <a:gd name="connsiteY202" fmla="*/ 1083755 h 1552193"/>
                <a:gd name="connsiteX203" fmla="*/ 3230213 w 7133463"/>
                <a:gd name="connsiteY203" fmla="*/ 1083755 h 1552193"/>
                <a:gd name="connsiteX204" fmla="*/ 3230213 w 7133463"/>
                <a:gd name="connsiteY204" fmla="*/ 1093184 h 1552193"/>
                <a:gd name="connsiteX205" fmla="*/ 3236119 w 7133463"/>
                <a:gd name="connsiteY205" fmla="*/ 1093184 h 1552193"/>
                <a:gd name="connsiteX206" fmla="*/ 3236119 w 7133463"/>
                <a:gd name="connsiteY206" fmla="*/ 1102614 h 1552193"/>
                <a:gd name="connsiteX207" fmla="*/ 3247930 w 7133463"/>
                <a:gd name="connsiteY207" fmla="*/ 1102614 h 1552193"/>
                <a:gd name="connsiteX208" fmla="*/ 3247930 w 7133463"/>
                <a:gd name="connsiteY208" fmla="*/ 1112044 h 1552193"/>
                <a:gd name="connsiteX209" fmla="*/ 3259741 w 7133463"/>
                <a:gd name="connsiteY209" fmla="*/ 1112044 h 1552193"/>
                <a:gd name="connsiteX210" fmla="*/ 3259741 w 7133463"/>
                <a:gd name="connsiteY210" fmla="*/ 1121378 h 1552193"/>
                <a:gd name="connsiteX211" fmla="*/ 3336512 w 7133463"/>
                <a:gd name="connsiteY211" fmla="*/ 1121378 h 1552193"/>
                <a:gd name="connsiteX212" fmla="*/ 3336512 w 7133463"/>
                <a:gd name="connsiteY212" fmla="*/ 1130808 h 1552193"/>
                <a:gd name="connsiteX213" fmla="*/ 3371850 w 7133463"/>
                <a:gd name="connsiteY213" fmla="*/ 1130808 h 1552193"/>
                <a:gd name="connsiteX214" fmla="*/ 3371850 w 7133463"/>
                <a:gd name="connsiteY214" fmla="*/ 1140238 h 1552193"/>
                <a:gd name="connsiteX215" fmla="*/ 3436811 w 7133463"/>
                <a:gd name="connsiteY215" fmla="*/ 1140238 h 1552193"/>
                <a:gd name="connsiteX216" fmla="*/ 3436811 w 7133463"/>
                <a:gd name="connsiteY216" fmla="*/ 1149763 h 1552193"/>
                <a:gd name="connsiteX217" fmla="*/ 3484055 w 7133463"/>
                <a:gd name="connsiteY217" fmla="*/ 1149763 h 1552193"/>
                <a:gd name="connsiteX218" fmla="*/ 3484055 w 7133463"/>
                <a:gd name="connsiteY218" fmla="*/ 1159478 h 1552193"/>
                <a:gd name="connsiteX219" fmla="*/ 3613975 w 7133463"/>
                <a:gd name="connsiteY219" fmla="*/ 1159478 h 1552193"/>
                <a:gd name="connsiteX220" fmla="*/ 3613975 w 7133463"/>
                <a:gd name="connsiteY220" fmla="*/ 1169099 h 1552193"/>
                <a:gd name="connsiteX221" fmla="*/ 3619976 w 7133463"/>
                <a:gd name="connsiteY221" fmla="*/ 1169099 h 1552193"/>
                <a:gd name="connsiteX222" fmla="*/ 3619976 w 7133463"/>
                <a:gd name="connsiteY222" fmla="*/ 1178719 h 1552193"/>
                <a:gd name="connsiteX223" fmla="*/ 3743992 w 7133463"/>
                <a:gd name="connsiteY223" fmla="*/ 1178719 h 1552193"/>
                <a:gd name="connsiteX224" fmla="*/ 3743992 w 7133463"/>
                <a:gd name="connsiteY224" fmla="*/ 1188530 h 1552193"/>
                <a:gd name="connsiteX225" fmla="*/ 3856006 w 7133463"/>
                <a:gd name="connsiteY225" fmla="*/ 1188530 h 1552193"/>
                <a:gd name="connsiteX226" fmla="*/ 3856006 w 7133463"/>
                <a:gd name="connsiteY226" fmla="*/ 1218152 h 1552193"/>
                <a:gd name="connsiteX227" fmla="*/ 3867912 w 7133463"/>
                <a:gd name="connsiteY227" fmla="*/ 1218152 h 1552193"/>
                <a:gd name="connsiteX228" fmla="*/ 3867912 w 7133463"/>
                <a:gd name="connsiteY228" fmla="*/ 1228058 h 1552193"/>
                <a:gd name="connsiteX229" fmla="*/ 3873817 w 7133463"/>
                <a:gd name="connsiteY229" fmla="*/ 1228058 h 1552193"/>
                <a:gd name="connsiteX230" fmla="*/ 3873817 w 7133463"/>
                <a:gd name="connsiteY230" fmla="*/ 1237964 h 1552193"/>
                <a:gd name="connsiteX231" fmla="*/ 3974211 w 7133463"/>
                <a:gd name="connsiteY231" fmla="*/ 1237964 h 1552193"/>
                <a:gd name="connsiteX232" fmla="*/ 3974211 w 7133463"/>
                <a:gd name="connsiteY232" fmla="*/ 1247775 h 1552193"/>
                <a:gd name="connsiteX233" fmla="*/ 4228052 w 7133463"/>
                <a:gd name="connsiteY233" fmla="*/ 1247775 h 1552193"/>
                <a:gd name="connsiteX234" fmla="*/ 4228052 w 7133463"/>
                <a:gd name="connsiteY234" fmla="*/ 1257872 h 1552193"/>
                <a:gd name="connsiteX235" fmla="*/ 4423029 w 7133463"/>
                <a:gd name="connsiteY235" fmla="*/ 1257872 h 1552193"/>
                <a:gd name="connsiteX236" fmla="*/ 4423029 w 7133463"/>
                <a:gd name="connsiteY236" fmla="*/ 1267968 h 1552193"/>
                <a:gd name="connsiteX237" fmla="*/ 4476179 w 7133463"/>
                <a:gd name="connsiteY237" fmla="*/ 1267968 h 1552193"/>
                <a:gd name="connsiteX238" fmla="*/ 4476179 w 7133463"/>
                <a:gd name="connsiteY238" fmla="*/ 1278160 h 1552193"/>
                <a:gd name="connsiteX239" fmla="*/ 4482084 w 7133463"/>
                <a:gd name="connsiteY239" fmla="*/ 1278160 h 1552193"/>
                <a:gd name="connsiteX240" fmla="*/ 4482084 w 7133463"/>
                <a:gd name="connsiteY240" fmla="*/ 1288352 h 1552193"/>
                <a:gd name="connsiteX241" fmla="*/ 4558856 w 7133463"/>
                <a:gd name="connsiteY241" fmla="*/ 1288352 h 1552193"/>
                <a:gd name="connsiteX242" fmla="*/ 4558856 w 7133463"/>
                <a:gd name="connsiteY242" fmla="*/ 1298543 h 1552193"/>
                <a:gd name="connsiteX243" fmla="*/ 4724210 w 7133463"/>
                <a:gd name="connsiteY243" fmla="*/ 1298543 h 1552193"/>
                <a:gd name="connsiteX244" fmla="*/ 4724210 w 7133463"/>
                <a:gd name="connsiteY244" fmla="*/ 1309307 h 1552193"/>
                <a:gd name="connsiteX245" fmla="*/ 4730115 w 7133463"/>
                <a:gd name="connsiteY245" fmla="*/ 1309307 h 1552193"/>
                <a:gd name="connsiteX246" fmla="*/ 4730115 w 7133463"/>
                <a:gd name="connsiteY246" fmla="*/ 1320070 h 1552193"/>
                <a:gd name="connsiteX247" fmla="*/ 4972241 w 7133463"/>
                <a:gd name="connsiteY247" fmla="*/ 1320070 h 1552193"/>
                <a:gd name="connsiteX248" fmla="*/ 4972241 w 7133463"/>
                <a:gd name="connsiteY248" fmla="*/ 1332357 h 1552193"/>
                <a:gd name="connsiteX249" fmla="*/ 4978051 w 7133463"/>
                <a:gd name="connsiteY249" fmla="*/ 1332357 h 1552193"/>
                <a:gd name="connsiteX250" fmla="*/ 4978051 w 7133463"/>
                <a:gd name="connsiteY250" fmla="*/ 1345216 h 1552193"/>
                <a:gd name="connsiteX251" fmla="*/ 5037297 w 7133463"/>
                <a:gd name="connsiteY251" fmla="*/ 1345216 h 1552193"/>
                <a:gd name="connsiteX252" fmla="*/ 5037297 w 7133463"/>
                <a:gd name="connsiteY252" fmla="*/ 1359694 h 1552193"/>
                <a:gd name="connsiteX253" fmla="*/ 5586318 w 7133463"/>
                <a:gd name="connsiteY253" fmla="*/ 1359694 h 1552193"/>
                <a:gd name="connsiteX254" fmla="*/ 5586318 w 7133463"/>
                <a:gd name="connsiteY254" fmla="*/ 1388745 h 1552193"/>
                <a:gd name="connsiteX255" fmla="*/ 5598224 w 7133463"/>
                <a:gd name="connsiteY255" fmla="*/ 1388745 h 1552193"/>
                <a:gd name="connsiteX256" fmla="*/ 5598224 w 7133463"/>
                <a:gd name="connsiteY256" fmla="*/ 1417701 h 1552193"/>
                <a:gd name="connsiteX257" fmla="*/ 5958269 w 7133463"/>
                <a:gd name="connsiteY257" fmla="*/ 1417701 h 1552193"/>
                <a:gd name="connsiteX258" fmla="*/ 5958269 w 7133463"/>
                <a:gd name="connsiteY258" fmla="*/ 1462564 h 1552193"/>
                <a:gd name="connsiteX259" fmla="*/ 6224016 w 7133463"/>
                <a:gd name="connsiteY259" fmla="*/ 1462564 h 1552193"/>
                <a:gd name="connsiteX260" fmla="*/ 6224016 w 7133463"/>
                <a:gd name="connsiteY260" fmla="*/ 1552194 h 1552193"/>
                <a:gd name="connsiteX261" fmla="*/ 7133463 w 7133463"/>
                <a:gd name="connsiteY261" fmla="*/ 1552194 h 155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</a:cxnLst>
              <a:rect l="l" t="t" r="r" b="b"/>
              <a:pathLst>
                <a:path w="7133463" h="1552193">
                  <a:moveTo>
                    <a:pt x="0" y="0"/>
                  </a:moveTo>
                  <a:lnTo>
                    <a:pt x="17812" y="0"/>
                  </a:lnTo>
                  <a:lnTo>
                    <a:pt x="17812" y="8001"/>
                  </a:lnTo>
                  <a:lnTo>
                    <a:pt x="130016" y="8001"/>
                  </a:lnTo>
                  <a:lnTo>
                    <a:pt x="130016" y="23908"/>
                  </a:lnTo>
                  <a:lnTo>
                    <a:pt x="135922" y="23908"/>
                  </a:lnTo>
                  <a:lnTo>
                    <a:pt x="135922" y="47816"/>
                  </a:lnTo>
                  <a:lnTo>
                    <a:pt x="141732" y="47816"/>
                  </a:lnTo>
                  <a:lnTo>
                    <a:pt x="141732" y="55817"/>
                  </a:lnTo>
                  <a:lnTo>
                    <a:pt x="147733" y="55817"/>
                  </a:lnTo>
                  <a:lnTo>
                    <a:pt x="147733" y="63722"/>
                  </a:lnTo>
                  <a:lnTo>
                    <a:pt x="153638" y="63722"/>
                  </a:lnTo>
                  <a:lnTo>
                    <a:pt x="153638" y="71819"/>
                  </a:lnTo>
                  <a:lnTo>
                    <a:pt x="218599" y="71819"/>
                  </a:lnTo>
                  <a:lnTo>
                    <a:pt x="218599" y="79820"/>
                  </a:lnTo>
                  <a:lnTo>
                    <a:pt x="224600" y="79820"/>
                  </a:lnTo>
                  <a:lnTo>
                    <a:pt x="224600" y="87821"/>
                  </a:lnTo>
                  <a:lnTo>
                    <a:pt x="230315" y="87821"/>
                  </a:lnTo>
                  <a:lnTo>
                    <a:pt x="230315" y="103727"/>
                  </a:lnTo>
                  <a:lnTo>
                    <a:pt x="242126" y="103727"/>
                  </a:lnTo>
                  <a:lnTo>
                    <a:pt x="242126" y="119729"/>
                  </a:lnTo>
                  <a:lnTo>
                    <a:pt x="254032" y="119729"/>
                  </a:lnTo>
                  <a:lnTo>
                    <a:pt x="254032" y="135731"/>
                  </a:lnTo>
                  <a:lnTo>
                    <a:pt x="259842" y="135731"/>
                  </a:lnTo>
                  <a:lnTo>
                    <a:pt x="259842" y="143732"/>
                  </a:lnTo>
                  <a:lnTo>
                    <a:pt x="271748" y="143732"/>
                  </a:lnTo>
                  <a:lnTo>
                    <a:pt x="271748" y="151829"/>
                  </a:lnTo>
                  <a:lnTo>
                    <a:pt x="301276" y="151829"/>
                  </a:lnTo>
                  <a:lnTo>
                    <a:pt x="301276" y="159830"/>
                  </a:lnTo>
                  <a:lnTo>
                    <a:pt x="307181" y="159830"/>
                  </a:lnTo>
                  <a:lnTo>
                    <a:pt x="307181" y="168021"/>
                  </a:lnTo>
                  <a:lnTo>
                    <a:pt x="342519" y="168021"/>
                  </a:lnTo>
                  <a:lnTo>
                    <a:pt x="342519" y="176117"/>
                  </a:lnTo>
                  <a:lnTo>
                    <a:pt x="377952" y="176117"/>
                  </a:lnTo>
                  <a:lnTo>
                    <a:pt x="377952" y="184118"/>
                  </a:lnTo>
                  <a:lnTo>
                    <a:pt x="395764" y="184118"/>
                  </a:lnTo>
                  <a:lnTo>
                    <a:pt x="395764" y="192310"/>
                  </a:lnTo>
                  <a:lnTo>
                    <a:pt x="437007" y="192310"/>
                  </a:lnTo>
                  <a:lnTo>
                    <a:pt x="437007" y="200406"/>
                  </a:lnTo>
                  <a:lnTo>
                    <a:pt x="502063" y="200406"/>
                  </a:lnTo>
                  <a:lnTo>
                    <a:pt x="502063" y="216789"/>
                  </a:lnTo>
                  <a:lnTo>
                    <a:pt x="507968" y="216789"/>
                  </a:lnTo>
                  <a:lnTo>
                    <a:pt x="507968" y="224981"/>
                  </a:lnTo>
                  <a:lnTo>
                    <a:pt x="519684" y="224981"/>
                  </a:lnTo>
                  <a:lnTo>
                    <a:pt x="519684" y="233267"/>
                  </a:lnTo>
                  <a:lnTo>
                    <a:pt x="543401" y="233267"/>
                  </a:lnTo>
                  <a:lnTo>
                    <a:pt x="543401" y="241364"/>
                  </a:lnTo>
                  <a:lnTo>
                    <a:pt x="590645" y="241364"/>
                  </a:lnTo>
                  <a:lnTo>
                    <a:pt x="590645" y="249650"/>
                  </a:lnTo>
                  <a:lnTo>
                    <a:pt x="637889" y="249650"/>
                  </a:lnTo>
                  <a:lnTo>
                    <a:pt x="637889" y="258032"/>
                  </a:lnTo>
                  <a:lnTo>
                    <a:pt x="643795" y="258032"/>
                  </a:lnTo>
                  <a:lnTo>
                    <a:pt x="643795" y="274510"/>
                  </a:lnTo>
                  <a:lnTo>
                    <a:pt x="649700" y="274510"/>
                  </a:lnTo>
                  <a:lnTo>
                    <a:pt x="649700" y="282893"/>
                  </a:lnTo>
                  <a:lnTo>
                    <a:pt x="655606" y="282893"/>
                  </a:lnTo>
                  <a:lnTo>
                    <a:pt x="655606" y="291179"/>
                  </a:lnTo>
                  <a:lnTo>
                    <a:pt x="714661" y="291179"/>
                  </a:lnTo>
                  <a:lnTo>
                    <a:pt x="714661" y="299466"/>
                  </a:lnTo>
                  <a:lnTo>
                    <a:pt x="732282" y="299466"/>
                  </a:lnTo>
                  <a:lnTo>
                    <a:pt x="732282" y="307848"/>
                  </a:lnTo>
                  <a:lnTo>
                    <a:pt x="749999" y="307848"/>
                  </a:lnTo>
                  <a:lnTo>
                    <a:pt x="749999" y="324422"/>
                  </a:lnTo>
                  <a:lnTo>
                    <a:pt x="755904" y="324422"/>
                  </a:lnTo>
                  <a:lnTo>
                    <a:pt x="755904" y="332708"/>
                  </a:lnTo>
                  <a:lnTo>
                    <a:pt x="767810" y="332708"/>
                  </a:lnTo>
                  <a:lnTo>
                    <a:pt x="767810" y="340995"/>
                  </a:lnTo>
                  <a:lnTo>
                    <a:pt x="809149" y="340995"/>
                  </a:lnTo>
                  <a:lnTo>
                    <a:pt x="809149" y="349472"/>
                  </a:lnTo>
                  <a:lnTo>
                    <a:pt x="826770" y="349472"/>
                  </a:lnTo>
                  <a:lnTo>
                    <a:pt x="826770" y="357759"/>
                  </a:lnTo>
                  <a:lnTo>
                    <a:pt x="862298" y="357759"/>
                  </a:lnTo>
                  <a:lnTo>
                    <a:pt x="862298" y="366046"/>
                  </a:lnTo>
                  <a:lnTo>
                    <a:pt x="874014" y="366046"/>
                  </a:lnTo>
                  <a:lnTo>
                    <a:pt x="874014" y="374428"/>
                  </a:lnTo>
                  <a:lnTo>
                    <a:pt x="897636" y="374428"/>
                  </a:lnTo>
                  <a:lnTo>
                    <a:pt x="897636" y="382810"/>
                  </a:lnTo>
                  <a:lnTo>
                    <a:pt x="909542" y="382810"/>
                  </a:lnTo>
                  <a:lnTo>
                    <a:pt x="909542" y="391097"/>
                  </a:lnTo>
                  <a:lnTo>
                    <a:pt x="944975" y="391097"/>
                  </a:lnTo>
                  <a:lnTo>
                    <a:pt x="944975" y="399479"/>
                  </a:lnTo>
                  <a:lnTo>
                    <a:pt x="950690" y="399479"/>
                  </a:lnTo>
                  <a:lnTo>
                    <a:pt x="950690" y="407860"/>
                  </a:lnTo>
                  <a:lnTo>
                    <a:pt x="980313" y="407860"/>
                  </a:lnTo>
                  <a:lnTo>
                    <a:pt x="980313" y="416147"/>
                  </a:lnTo>
                  <a:lnTo>
                    <a:pt x="998030" y="416147"/>
                  </a:lnTo>
                  <a:lnTo>
                    <a:pt x="998030" y="424625"/>
                  </a:lnTo>
                  <a:lnTo>
                    <a:pt x="1015746" y="424625"/>
                  </a:lnTo>
                  <a:lnTo>
                    <a:pt x="1015746" y="432911"/>
                  </a:lnTo>
                  <a:lnTo>
                    <a:pt x="1086707" y="432911"/>
                  </a:lnTo>
                  <a:lnTo>
                    <a:pt x="1086707" y="441389"/>
                  </a:lnTo>
                  <a:lnTo>
                    <a:pt x="1104424" y="441389"/>
                  </a:lnTo>
                  <a:lnTo>
                    <a:pt x="1104424" y="449771"/>
                  </a:lnTo>
                  <a:lnTo>
                    <a:pt x="1121950" y="449771"/>
                  </a:lnTo>
                  <a:lnTo>
                    <a:pt x="1121950" y="458248"/>
                  </a:lnTo>
                  <a:lnTo>
                    <a:pt x="1127951" y="458248"/>
                  </a:lnTo>
                  <a:lnTo>
                    <a:pt x="1127951" y="466820"/>
                  </a:lnTo>
                  <a:lnTo>
                    <a:pt x="1145667" y="466820"/>
                  </a:lnTo>
                  <a:lnTo>
                    <a:pt x="1145667" y="475202"/>
                  </a:lnTo>
                  <a:lnTo>
                    <a:pt x="1157478" y="475202"/>
                  </a:lnTo>
                  <a:lnTo>
                    <a:pt x="1157478" y="492252"/>
                  </a:lnTo>
                  <a:lnTo>
                    <a:pt x="1175290" y="492252"/>
                  </a:lnTo>
                  <a:lnTo>
                    <a:pt x="1175290" y="509207"/>
                  </a:lnTo>
                  <a:lnTo>
                    <a:pt x="1181100" y="509207"/>
                  </a:lnTo>
                  <a:lnTo>
                    <a:pt x="1181100" y="517779"/>
                  </a:lnTo>
                  <a:lnTo>
                    <a:pt x="1187006" y="517779"/>
                  </a:lnTo>
                  <a:lnTo>
                    <a:pt x="1187006" y="526161"/>
                  </a:lnTo>
                  <a:lnTo>
                    <a:pt x="1192911" y="526161"/>
                  </a:lnTo>
                  <a:lnTo>
                    <a:pt x="1192911" y="534734"/>
                  </a:lnTo>
                  <a:lnTo>
                    <a:pt x="1240155" y="534734"/>
                  </a:lnTo>
                  <a:lnTo>
                    <a:pt x="1240155" y="543211"/>
                  </a:lnTo>
                  <a:lnTo>
                    <a:pt x="1245965" y="543211"/>
                  </a:lnTo>
                  <a:lnTo>
                    <a:pt x="1245965" y="551688"/>
                  </a:lnTo>
                  <a:lnTo>
                    <a:pt x="1251966" y="551688"/>
                  </a:lnTo>
                  <a:lnTo>
                    <a:pt x="1251966" y="568643"/>
                  </a:lnTo>
                  <a:lnTo>
                    <a:pt x="1257872" y="568643"/>
                  </a:lnTo>
                  <a:lnTo>
                    <a:pt x="1257872" y="585692"/>
                  </a:lnTo>
                  <a:lnTo>
                    <a:pt x="1263682" y="585692"/>
                  </a:lnTo>
                  <a:lnTo>
                    <a:pt x="1263682" y="594170"/>
                  </a:lnTo>
                  <a:lnTo>
                    <a:pt x="1358265" y="594170"/>
                  </a:lnTo>
                  <a:lnTo>
                    <a:pt x="1358265" y="602837"/>
                  </a:lnTo>
                  <a:lnTo>
                    <a:pt x="1393603" y="602837"/>
                  </a:lnTo>
                  <a:lnTo>
                    <a:pt x="1393603" y="620173"/>
                  </a:lnTo>
                  <a:lnTo>
                    <a:pt x="1505903" y="620173"/>
                  </a:lnTo>
                  <a:lnTo>
                    <a:pt x="1505903" y="637699"/>
                  </a:lnTo>
                  <a:lnTo>
                    <a:pt x="1511808" y="637699"/>
                  </a:lnTo>
                  <a:lnTo>
                    <a:pt x="1511808" y="655130"/>
                  </a:lnTo>
                  <a:lnTo>
                    <a:pt x="1547241" y="655130"/>
                  </a:lnTo>
                  <a:lnTo>
                    <a:pt x="1547241" y="663893"/>
                  </a:lnTo>
                  <a:lnTo>
                    <a:pt x="1612106" y="663893"/>
                  </a:lnTo>
                  <a:lnTo>
                    <a:pt x="1612106" y="672751"/>
                  </a:lnTo>
                  <a:lnTo>
                    <a:pt x="1624013" y="672751"/>
                  </a:lnTo>
                  <a:lnTo>
                    <a:pt x="1624013" y="681419"/>
                  </a:lnTo>
                  <a:lnTo>
                    <a:pt x="1635728" y="681419"/>
                  </a:lnTo>
                  <a:lnTo>
                    <a:pt x="1635728" y="690277"/>
                  </a:lnTo>
                  <a:lnTo>
                    <a:pt x="1659446" y="690277"/>
                  </a:lnTo>
                  <a:lnTo>
                    <a:pt x="1659446" y="699040"/>
                  </a:lnTo>
                  <a:lnTo>
                    <a:pt x="1665446" y="699040"/>
                  </a:lnTo>
                  <a:lnTo>
                    <a:pt x="1665446" y="716566"/>
                  </a:lnTo>
                  <a:lnTo>
                    <a:pt x="1700689" y="716566"/>
                  </a:lnTo>
                  <a:lnTo>
                    <a:pt x="1700689" y="725424"/>
                  </a:lnTo>
                  <a:lnTo>
                    <a:pt x="1765745" y="725424"/>
                  </a:lnTo>
                  <a:lnTo>
                    <a:pt x="1765745" y="742950"/>
                  </a:lnTo>
                  <a:lnTo>
                    <a:pt x="1795272" y="742950"/>
                  </a:lnTo>
                  <a:lnTo>
                    <a:pt x="1795272" y="751713"/>
                  </a:lnTo>
                  <a:lnTo>
                    <a:pt x="1801178" y="751713"/>
                  </a:lnTo>
                  <a:lnTo>
                    <a:pt x="1801178" y="760476"/>
                  </a:lnTo>
                  <a:lnTo>
                    <a:pt x="1871948" y="760476"/>
                  </a:lnTo>
                  <a:lnTo>
                    <a:pt x="1871948" y="787051"/>
                  </a:lnTo>
                  <a:lnTo>
                    <a:pt x="1883855" y="787051"/>
                  </a:lnTo>
                  <a:lnTo>
                    <a:pt x="1883855" y="804672"/>
                  </a:lnTo>
                  <a:lnTo>
                    <a:pt x="1960626" y="804672"/>
                  </a:lnTo>
                  <a:lnTo>
                    <a:pt x="1960626" y="813626"/>
                  </a:lnTo>
                  <a:lnTo>
                    <a:pt x="2001869" y="813626"/>
                  </a:lnTo>
                  <a:lnTo>
                    <a:pt x="2001869" y="831247"/>
                  </a:lnTo>
                  <a:lnTo>
                    <a:pt x="2037398" y="831247"/>
                  </a:lnTo>
                  <a:lnTo>
                    <a:pt x="2037398" y="840105"/>
                  </a:lnTo>
                  <a:lnTo>
                    <a:pt x="2119979" y="840105"/>
                  </a:lnTo>
                  <a:lnTo>
                    <a:pt x="2119979" y="866680"/>
                  </a:lnTo>
                  <a:lnTo>
                    <a:pt x="2125790" y="866680"/>
                  </a:lnTo>
                  <a:lnTo>
                    <a:pt x="2125790" y="875538"/>
                  </a:lnTo>
                  <a:lnTo>
                    <a:pt x="2137696" y="875538"/>
                  </a:lnTo>
                  <a:lnTo>
                    <a:pt x="2137696" y="884396"/>
                  </a:lnTo>
                  <a:lnTo>
                    <a:pt x="2143601" y="884396"/>
                  </a:lnTo>
                  <a:lnTo>
                    <a:pt x="2143601" y="893159"/>
                  </a:lnTo>
                  <a:lnTo>
                    <a:pt x="2238185" y="893159"/>
                  </a:lnTo>
                  <a:lnTo>
                    <a:pt x="2238185" y="910971"/>
                  </a:lnTo>
                  <a:lnTo>
                    <a:pt x="2243995" y="910971"/>
                  </a:lnTo>
                  <a:lnTo>
                    <a:pt x="2243995" y="928592"/>
                  </a:lnTo>
                  <a:lnTo>
                    <a:pt x="2255901" y="928592"/>
                  </a:lnTo>
                  <a:lnTo>
                    <a:pt x="2255901" y="937451"/>
                  </a:lnTo>
                  <a:lnTo>
                    <a:pt x="2261807" y="937451"/>
                  </a:lnTo>
                  <a:lnTo>
                    <a:pt x="2261807" y="946309"/>
                  </a:lnTo>
                  <a:lnTo>
                    <a:pt x="2279428" y="946309"/>
                  </a:lnTo>
                  <a:lnTo>
                    <a:pt x="2279428" y="955167"/>
                  </a:lnTo>
                  <a:lnTo>
                    <a:pt x="2403539" y="955167"/>
                  </a:lnTo>
                  <a:lnTo>
                    <a:pt x="2403539" y="964121"/>
                  </a:lnTo>
                  <a:lnTo>
                    <a:pt x="2415159" y="964121"/>
                  </a:lnTo>
                  <a:lnTo>
                    <a:pt x="2415159" y="973169"/>
                  </a:lnTo>
                  <a:lnTo>
                    <a:pt x="2421160" y="973169"/>
                  </a:lnTo>
                  <a:lnTo>
                    <a:pt x="2421160" y="982218"/>
                  </a:lnTo>
                  <a:lnTo>
                    <a:pt x="2539270" y="982218"/>
                  </a:lnTo>
                  <a:lnTo>
                    <a:pt x="2539270" y="991172"/>
                  </a:lnTo>
                  <a:lnTo>
                    <a:pt x="2545271" y="991172"/>
                  </a:lnTo>
                  <a:lnTo>
                    <a:pt x="2545271" y="1000316"/>
                  </a:lnTo>
                  <a:lnTo>
                    <a:pt x="2610136" y="1000316"/>
                  </a:lnTo>
                  <a:lnTo>
                    <a:pt x="2610136" y="1009174"/>
                  </a:lnTo>
                  <a:lnTo>
                    <a:pt x="2710434" y="1009174"/>
                  </a:lnTo>
                  <a:lnTo>
                    <a:pt x="2710434" y="1018413"/>
                  </a:lnTo>
                  <a:lnTo>
                    <a:pt x="2751868" y="1018413"/>
                  </a:lnTo>
                  <a:lnTo>
                    <a:pt x="2751868" y="1027462"/>
                  </a:lnTo>
                  <a:lnTo>
                    <a:pt x="2881694" y="1027462"/>
                  </a:lnTo>
                  <a:lnTo>
                    <a:pt x="2881694" y="1036892"/>
                  </a:lnTo>
                  <a:lnTo>
                    <a:pt x="2988183" y="1036892"/>
                  </a:lnTo>
                  <a:lnTo>
                    <a:pt x="2988183" y="1046226"/>
                  </a:lnTo>
                  <a:lnTo>
                    <a:pt x="2999804" y="1046226"/>
                  </a:lnTo>
                  <a:lnTo>
                    <a:pt x="2999804" y="1055656"/>
                  </a:lnTo>
                  <a:lnTo>
                    <a:pt x="3100292" y="1055656"/>
                  </a:lnTo>
                  <a:lnTo>
                    <a:pt x="3100292" y="1065086"/>
                  </a:lnTo>
                  <a:lnTo>
                    <a:pt x="3118009" y="1065086"/>
                  </a:lnTo>
                  <a:lnTo>
                    <a:pt x="3118009" y="1074420"/>
                  </a:lnTo>
                  <a:lnTo>
                    <a:pt x="3153442" y="1074420"/>
                  </a:lnTo>
                  <a:lnTo>
                    <a:pt x="3153442" y="1083755"/>
                  </a:lnTo>
                  <a:lnTo>
                    <a:pt x="3230213" y="1083755"/>
                  </a:lnTo>
                  <a:lnTo>
                    <a:pt x="3230213" y="1093184"/>
                  </a:lnTo>
                  <a:lnTo>
                    <a:pt x="3236119" y="1093184"/>
                  </a:lnTo>
                  <a:lnTo>
                    <a:pt x="3236119" y="1102614"/>
                  </a:lnTo>
                  <a:lnTo>
                    <a:pt x="3247930" y="1102614"/>
                  </a:lnTo>
                  <a:lnTo>
                    <a:pt x="3247930" y="1112044"/>
                  </a:lnTo>
                  <a:lnTo>
                    <a:pt x="3259741" y="1112044"/>
                  </a:lnTo>
                  <a:lnTo>
                    <a:pt x="3259741" y="1121378"/>
                  </a:lnTo>
                  <a:lnTo>
                    <a:pt x="3336512" y="1121378"/>
                  </a:lnTo>
                  <a:lnTo>
                    <a:pt x="3336512" y="1130808"/>
                  </a:lnTo>
                  <a:lnTo>
                    <a:pt x="3371850" y="1130808"/>
                  </a:lnTo>
                  <a:lnTo>
                    <a:pt x="3371850" y="1140238"/>
                  </a:lnTo>
                  <a:lnTo>
                    <a:pt x="3436811" y="1140238"/>
                  </a:lnTo>
                  <a:lnTo>
                    <a:pt x="3436811" y="1149763"/>
                  </a:lnTo>
                  <a:lnTo>
                    <a:pt x="3484055" y="1149763"/>
                  </a:lnTo>
                  <a:lnTo>
                    <a:pt x="3484055" y="1159478"/>
                  </a:lnTo>
                  <a:lnTo>
                    <a:pt x="3613975" y="1159478"/>
                  </a:lnTo>
                  <a:lnTo>
                    <a:pt x="3613975" y="1169099"/>
                  </a:lnTo>
                  <a:lnTo>
                    <a:pt x="3619976" y="1169099"/>
                  </a:lnTo>
                  <a:lnTo>
                    <a:pt x="3619976" y="1178719"/>
                  </a:lnTo>
                  <a:lnTo>
                    <a:pt x="3743992" y="1178719"/>
                  </a:lnTo>
                  <a:lnTo>
                    <a:pt x="3743992" y="1188530"/>
                  </a:lnTo>
                  <a:lnTo>
                    <a:pt x="3856006" y="1188530"/>
                  </a:lnTo>
                  <a:lnTo>
                    <a:pt x="3856006" y="1218152"/>
                  </a:lnTo>
                  <a:lnTo>
                    <a:pt x="3867912" y="1218152"/>
                  </a:lnTo>
                  <a:lnTo>
                    <a:pt x="3867912" y="1228058"/>
                  </a:lnTo>
                  <a:lnTo>
                    <a:pt x="3873817" y="1228058"/>
                  </a:lnTo>
                  <a:lnTo>
                    <a:pt x="3873817" y="1237964"/>
                  </a:lnTo>
                  <a:lnTo>
                    <a:pt x="3974211" y="1237964"/>
                  </a:lnTo>
                  <a:lnTo>
                    <a:pt x="3974211" y="1247775"/>
                  </a:lnTo>
                  <a:lnTo>
                    <a:pt x="4228052" y="1247775"/>
                  </a:lnTo>
                  <a:lnTo>
                    <a:pt x="4228052" y="1257872"/>
                  </a:lnTo>
                  <a:lnTo>
                    <a:pt x="4423029" y="1257872"/>
                  </a:lnTo>
                  <a:lnTo>
                    <a:pt x="4423029" y="1267968"/>
                  </a:lnTo>
                  <a:lnTo>
                    <a:pt x="4476179" y="1267968"/>
                  </a:lnTo>
                  <a:lnTo>
                    <a:pt x="4476179" y="1278160"/>
                  </a:lnTo>
                  <a:lnTo>
                    <a:pt x="4482084" y="1278160"/>
                  </a:lnTo>
                  <a:lnTo>
                    <a:pt x="4482084" y="1288352"/>
                  </a:lnTo>
                  <a:lnTo>
                    <a:pt x="4558856" y="1288352"/>
                  </a:lnTo>
                  <a:lnTo>
                    <a:pt x="4558856" y="1298543"/>
                  </a:lnTo>
                  <a:lnTo>
                    <a:pt x="4724210" y="1298543"/>
                  </a:lnTo>
                  <a:lnTo>
                    <a:pt x="4724210" y="1309307"/>
                  </a:lnTo>
                  <a:lnTo>
                    <a:pt x="4730115" y="1309307"/>
                  </a:lnTo>
                  <a:lnTo>
                    <a:pt x="4730115" y="1320070"/>
                  </a:lnTo>
                  <a:lnTo>
                    <a:pt x="4972241" y="1320070"/>
                  </a:lnTo>
                  <a:lnTo>
                    <a:pt x="4972241" y="1332357"/>
                  </a:lnTo>
                  <a:lnTo>
                    <a:pt x="4978051" y="1332357"/>
                  </a:lnTo>
                  <a:lnTo>
                    <a:pt x="4978051" y="1345216"/>
                  </a:lnTo>
                  <a:lnTo>
                    <a:pt x="5037297" y="1345216"/>
                  </a:lnTo>
                  <a:lnTo>
                    <a:pt x="5037297" y="1359694"/>
                  </a:lnTo>
                  <a:lnTo>
                    <a:pt x="5586318" y="1359694"/>
                  </a:lnTo>
                  <a:lnTo>
                    <a:pt x="5586318" y="1388745"/>
                  </a:lnTo>
                  <a:lnTo>
                    <a:pt x="5598224" y="1388745"/>
                  </a:lnTo>
                  <a:lnTo>
                    <a:pt x="5598224" y="1417701"/>
                  </a:lnTo>
                  <a:lnTo>
                    <a:pt x="5958269" y="1417701"/>
                  </a:lnTo>
                  <a:lnTo>
                    <a:pt x="5958269" y="1462564"/>
                  </a:lnTo>
                  <a:lnTo>
                    <a:pt x="6224016" y="1462564"/>
                  </a:lnTo>
                  <a:lnTo>
                    <a:pt x="6224016" y="1552194"/>
                  </a:lnTo>
                  <a:lnTo>
                    <a:pt x="7133463" y="1552194"/>
                  </a:ln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1" name="Freeform: Shape 550">
              <a:extLst>
                <a:ext uri="{FF2B5EF4-FFF2-40B4-BE49-F238E27FC236}">
                  <a16:creationId xmlns:a16="http://schemas.microsoft.com/office/drawing/2014/main" id="{F7C61838-BB4A-9CD2-5D47-2007044A2EC9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2" name="Freeform: Shape 551">
              <a:extLst>
                <a:ext uri="{FF2B5EF4-FFF2-40B4-BE49-F238E27FC236}">
                  <a16:creationId xmlns:a16="http://schemas.microsoft.com/office/drawing/2014/main" id="{3EABF92C-641E-914F-FC81-AA7F673BA547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3" name="Freeform: Shape 552">
              <a:extLst>
                <a:ext uri="{FF2B5EF4-FFF2-40B4-BE49-F238E27FC236}">
                  <a16:creationId xmlns:a16="http://schemas.microsoft.com/office/drawing/2014/main" id="{9256AC11-E44C-61DC-43D1-4930FF5CFDD7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4" name="Freeform: Shape 553">
              <a:extLst>
                <a:ext uri="{FF2B5EF4-FFF2-40B4-BE49-F238E27FC236}">
                  <a16:creationId xmlns:a16="http://schemas.microsoft.com/office/drawing/2014/main" id="{4326EE4A-99FA-1CD8-29B2-EB5469741DFD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5" name="Freeform: Shape 554">
              <a:extLst>
                <a:ext uri="{FF2B5EF4-FFF2-40B4-BE49-F238E27FC236}">
                  <a16:creationId xmlns:a16="http://schemas.microsoft.com/office/drawing/2014/main" id="{3696E840-F578-20B5-97EA-3F045C3F0507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6" name="Freeform: Shape 555">
              <a:extLst>
                <a:ext uri="{FF2B5EF4-FFF2-40B4-BE49-F238E27FC236}">
                  <a16:creationId xmlns:a16="http://schemas.microsoft.com/office/drawing/2014/main" id="{6A90FE9F-EC61-914B-525D-5A5C202FB36E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7" name="Freeform: Shape 556">
              <a:extLst>
                <a:ext uri="{FF2B5EF4-FFF2-40B4-BE49-F238E27FC236}">
                  <a16:creationId xmlns:a16="http://schemas.microsoft.com/office/drawing/2014/main" id="{0B74DD9D-FC17-0741-07D7-8C4003896DE5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8" name="Freeform: Shape 557">
              <a:extLst>
                <a:ext uri="{FF2B5EF4-FFF2-40B4-BE49-F238E27FC236}">
                  <a16:creationId xmlns:a16="http://schemas.microsoft.com/office/drawing/2014/main" id="{E050200F-C901-D68B-D2C2-4B27EE6EC47E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9" name="Freeform: Shape 558">
              <a:extLst>
                <a:ext uri="{FF2B5EF4-FFF2-40B4-BE49-F238E27FC236}">
                  <a16:creationId xmlns:a16="http://schemas.microsoft.com/office/drawing/2014/main" id="{72D615C2-E707-7D17-FD57-A1D6CC8C2A70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0" name="Freeform: Shape 559">
              <a:extLst>
                <a:ext uri="{FF2B5EF4-FFF2-40B4-BE49-F238E27FC236}">
                  <a16:creationId xmlns:a16="http://schemas.microsoft.com/office/drawing/2014/main" id="{FCD94EA0-E93B-493A-D526-DA3BE705E629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1" name="Freeform: Shape 560">
              <a:extLst>
                <a:ext uri="{FF2B5EF4-FFF2-40B4-BE49-F238E27FC236}">
                  <a16:creationId xmlns:a16="http://schemas.microsoft.com/office/drawing/2014/main" id="{06D84D94-956A-2313-5EB1-04395B3D56CA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2" name="Freeform: Shape 561">
              <a:extLst>
                <a:ext uri="{FF2B5EF4-FFF2-40B4-BE49-F238E27FC236}">
                  <a16:creationId xmlns:a16="http://schemas.microsoft.com/office/drawing/2014/main" id="{602D6270-310A-5589-4035-E4A22C641F44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3" name="Freeform: Shape 562">
              <a:extLst>
                <a:ext uri="{FF2B5EF4-FFF2-40B4-BE49-F238E27FC236}">
                  <a16:creationId xmlns:a16="http://schemas.microsoft.com/office/drawing/2014/main" id="{5CE07620-389F-C16E-DAFB-AD83CF0E91E3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4" name="Freeform: Shape 563">
              <a:extLst>
                <a:ext uri="{FF2B5EF4-FFF2-40B4-BE49-F238E27FC236}">
                  <a16:creationId xmlns:a16="http://schemas.microsoft.com/office/drawing/2014/main" id="{03A61612-55C4-AD96-7022-5EEE02E59F60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5" name="Freeform: Shape 564">
              <a:extLst>
                <a:ext uri="{FF2B5EF4-FFF2-40B4-BE49-F238E27FC236}">
                  <a16:creationId xmlns:a16="http://schemas.microsoft.com/office/drawing/2014/main" id="{9E340258-1976-B9E4-2AE4-3736CFDDA596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6" name="Freeform: Shape 565">
              <a:extLst>
                <a:ext uri="{FF2B5EF4-FFF2-40B4-BE49-F238E27FC236}">
                  <a16:creationId xmlns:a16="http://schemas.microsoft.com/office/drawing/2014/main" id="{F2F91F04-7375-17A2-288A-0680FF7DCEDB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7" name="Freeform: Shape 566">
              <a:extLst>
                <a:ext uri="{FF2B5EF4-FFF2-40B4-BE49-F238E27FC236}">
                  <a16:creationId xmlns:a16="http://schemas.microsoft.com/office/drawing/2014/main" id="{F6F5FF78-B7AC-7878-9E86-5A9A95C87CF2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8" name="Freeform: Shape 567">
              <a:extLst>
                <a:ext uri="{FF2B5EF4-FFF2-40B4-BE49-F238E27FC236}">
                  <a16:creationId xmlns:a16="http://schemas.microsoft.com/office/drawing/2014/main" id="{5D907F7E-9CE1-035F-AD9C-A290DB3C9B47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9" name="Freeform: Shape 568">
              <a:extLst>
                <a:ext uri="{FF2B5EF4-FFF2-40B4-BE49-F238E27FC236}">
                  <a16:creationId xmlns:a16="http://schemas.microsoft.com/office/drawing/2014/main" id="{0531CA55-E2B8-343F-5047-759DE2CD77DA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0" name="Freeform: Shape 569">
              <a:extLst>
                <a:ext uri="{FF2B5EF4-FFF2-40B4-BE49-F238E27FC236}">
                  <a16:creationId xmlns:a16="http://schemas.microsoft.com/office/drawing/2014/main" id="{AB5C9653-74E5-1063-FA3D-9F809642FF38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1" name="Freeform: Shape 570">
              <a:extLst>
                <a:ext uri="{FF2B5EF4-FFF2-40B4-BE49-F238E27FC236}">
                  <a16:creationId xmlns:a16="http://schemas.microsoft.com/office/drawing/2014/main" id="{BEFDD34E-31C8-47D0-AAEC-3AAF39B80B46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2" name="Freeform: Shape 571">
              <a:extLst>
                <a:ext uri="{FF2B5EF4-FFF2-40B4-BE49-F238E27FC236}">
                  <a16:creationId xmlns:a16="http://schemas.microsoft.com/office/drawing/2014/main" id="{BBFA1385-B58F-4AB3-9222-3AE141205C4B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3" name="Freeform: Shape 572">
              <a:extLst>
                <a:ext uri="{FF2B5EF4-FFF2-40B4-BE49-F238E27FC236}">
                  <a16:creationId xmlns:a16="http://schemas.microsoft.com/office/drawing/2014/main" id="{F4ADD360-202E-3677-975C-90FF84CE2672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4" name="Freeform: Shape 573">
              <a:extLst>
                <a:ext uri="{FF2B5EF4-FFF2-40B4-BE49-F238E27FC236}">
                  <a16:creationId xmlns:a16="http://schemas.microsoft.com/office/drawing/2014/main" id="{B94CE064-EC84-BB60-BC3E-6FC594BBD4E2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5" name="Freeform: Shape 574">
              <a:extLst>
                <a:ext uri="{FF2B5EF4-FFF2-40B4-BE49-F238E27FC236}">
                  <a16:creationId xmlns:a16="http://schemas.microsoft.com/office/drawing/2014/main" id="{13FDE225-9728-765C-9E53-CFA99C89A4EA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6" name="Freeform: Shape 575">
              <a:extLst>
                <a:ext uri="{FF2B5EF4-FFF2-40B4-BE49-F238E27FC236}">
                  <a16:creationId xmlns:a16="http://schemas.microsoft.com/office/drawing/2014/main" id="{46CC05EC-3715-092B-7FB2-227818B59641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7" name="Freeform: Shape 576">
              <a:extLst>
                <a:ext uri="{FF2B5EF4-FFF2-40B4-BE49-F238E27FC236}">
                  <a16:creationId xmlns:a16="http://schemas.microsoft.com/office/drawing/2014/main" id="{8ACD7213-8779-5D5E-77DC-0DB195A6ECC1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8" name="Freeform: Shape 577">
              <a:extLst>
                <a:ext uri="{FF2B5EF4-FFF2-40B4-BE49-F238E27FC236}">
                  <a16:creationId xmlns:a16="http://schemas.microsoft.com/office/drawing/2014/main" id="{A382DB49-3D3C-D6E6-ACF7-B835185234A8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9" name="Freeform: Shape 578">
              <a:extLst>
                <a:ext uri="{FF2B5EF4-FFF2-40B4-BE49-F238E27FC236}">
                  <a16:creationId xmlns:a16="http://schemas.microsoft.com/office/drawing/2014/main" id="{B556950A-4FEA-5C75-315F-6F74BD1380E7}"/>
                </a:ext>
              </a:extLst>
            </p:cNvPr>
            <p:cNvSpPr/>
            <p:nvPr/>
          </p:nvSpPr>
          <p:spPr>
            <a:xfrm>
              <a:off x="4583128" y="-230448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0" name="Freeform: Shape 579">
              <a:extLst>
                <a:ext uri="{FF2B5EF4-FFF2-40B4-BE49-F238E27FC236}">
                  <a16:creationId xmlns:a16="http://schemas.microsoft.com/office/drawing/2014/main" id="{C7DB851E-8361-7245-1672-2BB1B0E5C30D}"/>
                </a:ext>
              </a:extLst>
            </p:cNvPr>
            <p:cNvSpPr/>
            <p:nvPr/>
          </p:nvSpPr>
          <p:spPr>
            <a:xfrm>
              <a:off x="4639135" y="-2339917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1" name="Freeform: Shape 580">
              <a:extLst>
                <a:ext uri="{FF2B5EF4-FFF2-40B4-BE49-F238E27FC236}">
                  <a16:creationId xmlns:a16="http://schemas.microsoft.com/office/drawing/2014/main" id="{2830BC56-9E4E-9A51-2D8B-FD99741A9C25}"/>
                </a:ext>
              </a:extLst>
            </p:cNvPr>
            <p:cNvSpPr/>
            <p:nvPr/>
          </p:nvSpPr>
          <p:spPr>
            <a:xfrm>
              <a:off x="4583128" y="-230448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2" name="Freeform: Shape 581">
              <a:extLst>
                <a:ext uri="{FF2B5EF4-FFF2-40B4-BE49-F238E27FC236}">
                  <a16:creationId xmlns:a16="http://schemas.microsoft.com/office/drawing/2014/main" id="{E1313F3A-0C54-EA6E-064F-A34CF6C2F7BA}"/>
                </a:ext>
              </a:extLst>
            </p:cNvPr>
            <p:cNvSpPr/>
            <p:nvPr/>
          </p:nvSpPr>
          <p:spPr>
            <a:xfrm>
              <a:off x="4639135" y="-2339917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3" name="Freeform: Shape 582">
              <a:extLst>
                <a:ext uri="{FF2B5EF4-FFF2-40B4-BE49-F238E27FC236}">
                  <a16:creationId xmlns:a16="http://schemas.microsoft.com/office/drawing/2014/main" id="{45630295-5307-B4E3-46A9-F1812D05B285}"/>
                </a:ext>
              </a:extLst>
            </p:cNvPr>
            <p:cNvSpPr/>
            <p:nvPr/>
          </p:nvSpPr>
          <p:spPr>
            <a:xfrm>
              <a:off x="4629991" y="-22804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4" name="Freeform: Shape 583">
              <a:extLst>
                <a:ext uri="{FF2B5EF4-FFF2-40B4-BE49-F238E27FC236}">
                  <a16:creationId xmlns:a16="http://schemas.microsoft.com/office/drawing/2014/main" id="{D2FECA1E-D9B0-15F8-7696-D6772C668954}"/>
                </a:ext>
              </a:extLst>
            </p:cNvPr>
            <p:cNvSpPr/>
            <p:nvPr/>
          </p:nvSpPr>
          <p:spPr>
            <a:xfrm>
              <a:off x="4685998" y="-231477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5" name="Freeform: Shape 584">
              <a:extLst>
                <a:ext uri="{FF2B5EF4-FFF2-40B4-BE49-F238E27FC236}">
                  <a16:creationId xmlns:a16="http://schemas.microsoft.com/office/drawing/2014/main" id="{02FD8008-6E6E-B3C9-7C6A-1356CD92A139}"/>
                </a:ext>
              </a:extLst>
            </p:cNvPr>
            <p:cNvSpPr/>
            <p:nvPr/>
          </p:nvSpPr>
          <p:spPr>
            <a:xfrm>
              <a:off x="4706572" y="-2264479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6" name="Freeform: Shape 585">
              <a:extLst>
                <a:ext uri="{FF2B5EF4-FFF2-40B4-BE49-F238E27FC236}">
                  <a16:creationId xmlns:a16="http://schemas.microsoft.com/office/drawing/2014/main" id="{D999F206-450E-7C18-4920-DAD1CA2F61E2}"/>
                </a:ext>
              </a:extLst>
            </p:cNvPr>
            <p:cNvSpPr/>
            <p:nvPr/>
          </p:nvSpPr>
          <p:spPr>
            <a:xfrm>
              <a:off x="4762579" y="-22987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7" name="Freeform: Shape 586">
              <a:extLst>
                <a:ext uri="{FF2B5EF4-FFF2-40B4-BE49-F238E27FC236}">
                  <a16:creationId xmlns:a16="http://schemas.microsoft.com/office/drawing/2014/main" id="{80AFD530-E266-E517-28DC-9D9451119833}"/>
                </a:ext>
              </a:extLst>
            </p:cNvPr>
            <p:cNvSpPr/>
            <p:nvPr/>
          </p:nvSpPr>
          <p:spPr>
            <a:xfrm>
              <a:off x="4760293" y="-224733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8" name="Freeform: Shape 587">
              <a:extLst>
                <a:ext uri="{FF2B5EF4-FFF2-40B4-BE49-F238E27FC236}">
                  <a16:creationId xmlns:a16="http://schemas.microsoft.com/office/drawing/2014/main" id="{1CB3CF12-2232-D5B2-D295-D1D89198D739}"/>
                </a:ext>
              </a:extLst>
            </p:cNvPr>
            <p:cNvSpPr/>
            <p:nvPr/>
          </p:nvSpPr>
          <p:spPr>
            <a:xfrm>
              <a:off x="4816300" y="-228276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9" name="Freeform: Shape 588">
              <a:extLst>
                <a:ext uri="{FF2B5EF4-FFF2-40B4-BE49-F238E27FC236}">
                  <a16:creationId xmlns:a16="http://schemas.microsoft.com/office/drawing/2014/main" id="{798E42C2-56E5-D612-849C-BE52AEA615CB}"/>
                </a:ext>
              </a:extLst>
            </p:cNvPr>
            <p:cNvSpPr/>
            <p:nvPr/>
          </p:nvSpPr>
          <p:spPr>
            <a:xfrm>
              <a:off x="4872307" y="-2207329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0" name="Freeform: Shape 589">
              <a:extLst>
                <a:ext uri="{FF2B5EF4-FFF2-40B4-BE49-F238E27FC236}">
                  <a16:creationId xmlns:a16="http://schemas.microsoft.com/office/drawing/2014/main" id="{7A8764A4-B283-4C4C-8776-9850B7FC224B}"/>
                </a:ext>
              </a:extLst>
            </p:cNvPr>
            <p:cNvSpPr/>
            <p:nvPr/>
          </p:nvSpPr>
          <p:spPr>
            <a:xfrm>
              <a:off x="4928314" y="-224161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1" name="Freeform: Shape 590">
              <a:extLst>
                <a:ext uri="{FF2B5EF4-FFF2-40B4-BE49-F238E27FC236}">
                  <a16:creationId xmlns:a16="http://schemas.microsoft.com/office/drawing/2014/main" id="{BAC30AFF-40C2-4176-9934-E59D3A8A43A8}"/>
                </a:ext>
              </a:extLst>
            </p:cNvPr>
            <p:cNvSpPr/>
            <p:nvPr/>
          </p:nvSpPr>
          <p:spPr>
            <a:xfrm>
              <a:off x="4872307" y="-2207329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2" name="Freeform: Shape 591">
              <a:extLst>
                <a:ext uri="{FF2B5EF4-FFF2-40B4-BE49-F238E27FC236}">
                  <a16:creationId xmlns:a16="http://schemas.microsoft.com/office/drawing/2014/main" id="{3B427FCC-9A28-9981-F0D3-EC2D4884480B}"/>
                </a:ext>
              </a:extLst>
            </p:cNvPr>
            <p:cNvSpPr/>
            <p:nvPr/>
          </p:nvSpPr>
          <p:spPr>
            <a:xfrm>
              <a:off x="4928314" y="-224161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3" name="Freeform: Shape 592">
              <a:extLst>
                <a:ext uri="{FF2B5EF4-FFF2-40B4-BE49-F238E27FC236}">
                  <a16:creationId xmlns:a16="http://schemas.microsoft.com/office/drawing/2014/main" id="{BC278F60-EB76-E082-C1B3-8D61F1CC6DEE}"/>
                </a:ext>
              </a:extLst>
            </p:cNvPr>
            <p:cNvSpPr/>
            <p:nvPr/>
          </p:nvSpPr>
          <p:spPr>
            <a:xfrm>
              <a:off x="4907740" y="-2207329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4" name="Freeform: Shape 593">
              <a:extLst>
                <a:ext uri="{FF2B5EF4-FFF2-40B4-BE49-F238E27FC236}">
                  <a16:creationId xmlns:a16="http://schemas.microsoft.com/office/drawing/2014/main" id="{019886B2-3236-0254-F13B-93804693CD33}"/>
                </a:ext>
              </a:extLst>
            </p:cNvPr>
            <p:cNvSpPr/>
            <p:nvPr/>
          </p:nvSpPr>
          <p:spPr>
            <a:xfrm>
              <a:off x="4963747" y="-224161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5" name="Freeform: Shape 594">
              <a:extLst>
                <a:ext uri="{FF2B5EF4-FFF2-40B4-BE49-F238E27FC236}">
                  <a16:creationId xmlns:a16="http://schemas.microsoft.com/office/drawing/2014/main" id="{05A599A0-8477-A043-4431-0D1AB9D914D1}"/>
                </a:ext>
              </a:extLst>
            </p:cNvPr>
            <p:cNvSpPr/>
            <p:nvPr/>
          </p:nvSpPr>
          <p:spPr>
            <a:xfrm>
              <a:off x="5090620" y="-210788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6" name="Freeform: Shape 595">
              <a:extLst>
                <a:ext uri="{FF2B5EF4-FFF2-40B4-BE49-F238E27FC236}">
                  <a16:creationId xmlns:a16="http://schemas.microsoft.com/office/drawing/2014/main" id="{A435CE1B-347D-EFAE-15B4-9461A62890FB}"/>
                </a:ext>
              </a:extLst>
            </p:cNvPr>
            <p:cNvSpPr/>
            <p:nvPr/>
          </p:nvSpPr>
          <p:spPr>
            <a:xfrm>
              <a:off x="5146627" y="-214217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7" name="Freeform: Shape 596">
              <a:extLst>
                <a:ext uri="{FF2B5EF4-FFF2-40B4-BE49-F238E27FC236}">
                  <a16:creationId xmlns:a16="http://schemas.microsoft.com/office/drawing/2014/main" id="{5FEB3316-410A-CD84-1DF6-BEB318A0CE6D}"/>
                </a:ext>
              </a:extLst>
            </p:cNvPr>
            <p:cNvSpPr/>
            <p:nvPr/>
          </p:nvSpPr>
          <p:spPr>
            <a:xfrm>
              <a:off x="5315791" y="-2032450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8" name="Freeform: Shape 597">
              <a:extLst>
                <a:ext uri="{FF2B5EF4-FFF2-40B4-BE49-F238E27FC236}">
                  <a16:creationId xmlns:a16="http://schemas.microsoft.com/office/drawing/2014/main" id="{3F3BEBC3-1EC3-49DF-A17D-A534DB1E62DF}"/>
                </a:ext>
              </a:extLst>
            </p:cNvPr>
            <p:cNvSpPr/>
            <p:nvPr/>
          </p:nvSpPr>
          <p:spPr>
            <a:xfrm>
              <a:off x="5370655" y="-206674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9" name="Freeform: Shape 598">
              <a:extLst>
                <a:ext uri="{FF2B5EF4-FFF2-40B4-BE49-F238E27FC236}">
                  <a16:creationId xmlns:a16="http://schemas.microsoft.com/office/drawing/2014/main" id="{F7F971AA-CEA9-5C6F-1767-24D3A5A68099}"/>
                </a:ext>
              </a:extLst>
            </p:cNvPr>
            <p:cNvSpPr/>
            <p:nvPr/>
          </p:nvSpPr>
          <p:spPr>
            <a:xfrm>
              <a:off x="5427805" y="-199816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0" name="Freeform: Shape 599">
              <a:extLst>
                <a:ext uri="{FF2B5EF4-FFF2-40B4-BE49-F238E27FC236}">
                  <a16:creationId xmlns:a16="http://schemas.microsoft.com/office/drawing/2014/main" id="{DAB8455F-15F5-C365-B2E5-1792B969D233}"/>
                </a:ext>
              </a:extLst>
            </p:cNvPr>
            <p:cNvSpPr/>
            <p:nvPr/>
          </p:nvSpPr>
          <p:spPr>
            <a:xfrm>
              <a:off x="5483812" y="-203359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1" name="Freeform: Shape 600">
              <a:extLst>
                <a:ext uri="{FF2B5EF4-FFF2-40B4-BE49-F238E27FC236}">
                  <a16:creationId xmlns:a16="http://schemas.microsoft.com/office/drawing/2014/main" id="{7C489DA9-2643-8483-C4B2-56173CFB4DD8}"/>
                </a:ext>
              </a:extLst>
            </p:cNvPr>
            <p:cNvSpPr/>
            <p:nvPr/>
          </p:nvSpPr>
          <p:spPr>
            <a:xfrm>
              <a:off x="5433520" y="-199816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2" name="Freeform: Shape 601">
              <a:extLst>
                <a:ext uri="{FF2B5EF4-FFF2-40B4-BE49-F238E27FC236}">
                  <a16:creationId xmlns:a16="http://schemas.microsoft.com/office/drawing/2014/main" id="{A413E0FC-23FC-4215-55AA-0A044066B276}"/>
                </a:ext>
              </a:extLst>
            </p:cNvPr>
            <p:cNvSpPr/>
            <p:nvPr/>
          </p:nvSpPr>
          <p:spPr>
            <a:xfrm>
              <a:off x="5489527" y="-203359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3" name="Freeform: Shape 602">
              <a:extLst>
                <a:ext uri="{FF2B5EF4-FFF2-40B4-BE49-F238E27FC236}">
                  <a16:creationId xmlns:a16="http://schemas.microsoft.com/office/drawing/2014/main" id="{7A0972A1-7F0F-E99D-AEB2-45B949959A62}"/>
                </a:ext>
              </a:extLst>
            </p:cNvPr>
            <p:cNvSpPr/>
            <p:nvPr/>
          </p:nvSpPr>
          <p:spPr>
            <a:xfrm>
              <a:off x="5580967" y="-186328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4" name="Freeform: Shape 603">
              <a:extLst>
                <a:ext uri="{FF2B5EF4-FFF2-40B4-BE49-F238E27FC236}">
                  <a16:creationId xmlns:a16="http://schemas.microsoft.com/office/drawing/2014/main" id="{C93E4A96-C10C-CD51-28C6-D8BD7F0741B9}"/>
                </a:ext>
              </a:extLst>
            </p:cNvPr>
            <p:cNvSpPr/>
            <p:nvPr/>
          </p:nvSpPr>
          <p:spPr>
            <a:xfrm>
              <a:off x="5636974" y="-189757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5" name="Freeform: Shape 604">
              <a:extLst>
                <a:ext uri="{FF2B5EF4-FFF2-40B4-BE49-F238E27FC236}">
                  <a16:creationId xmlns:a16="http://schemas.microsoft.com/office/drawing/2014/main" id="{D84937C6-B05A-7AD4-66E8-79E0D88F19A8}"/>
                </a:ext>
              </a:extLst>
            </p:cNvPr>
            <p:cNvSpPr/>
            <p:nvPr/>
          </p:nvSpPr>
          <p:spPr>
            <a:xfrm>
              <a:off x="5651833" y="-185414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6" name="Freeform: Shape 605">
              <a:extLst>
                <a:ext uri="{FF2B5EF4-FFF2-40B4-BE49-F238E27FC236}">
                  <a16:creationId xmlns:a16="http://schemas.microsoft.com/office/drawing/2014/main" id="{C62E4F9C-ACB5-7ABF-20AA-B09026F9B4AC}"/>
                </a:ext>
              </a:extLst>
            </p:cNvPr>
            <p:cNvSpPr/>
            <p:nvPr/>
          </p:nvSpPr>
          <p:spPr>
            <a:xfrm>
              <a:off x="5707840" y="-188957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7" name="Freeform: Shape 606">
              <a:extLst>
                <a:ext uri="{FF2B5EF4-FFF2-40B4-BE49-F238E27FC236}">
                  <a16:creationId xmlns:a16="http://schemas.microsoft.com/office/drawing/2014/main" id="{E09DE7DD-C752-EEFC-6C2B-6A64E8A74B0A}"/>
                </a:ext>
              </a:extLst>
            </p:cNvPr>
            <p:cNvSpPr/>
            <p:nvPr/>
          </p:nvSpPr>
          <p:spPr>
            <a:xfrm>
              <a:off x="5698696" y="-184499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8" name="Freeform: Shape 607">
              <a:extLst>
                <a:ext uri="{FF2B5EF4-FFF2-40B4-BE49-F238E27FC236}">
                  <a16:creationId xmlns:a16="http://schemas.microsoft.com/office/drawing/2014/main" id="{55E3AE3D-70D8-1159-83B1-2A40EE322621}"/>
                </a:ext>
              </a:extLst>
            </p:cNvPr>
            <p:cNvSpPr/>
            <p:nvPr/>
          </p:nvSpPr>
          <p:spPr>
            <a:xfrm>
              <a:off x="5754703" y="-18804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9" name="Freeform: Shape 608">
              <a:extLst>
                <a:ext uri="{FF2B5EF4-FFF2-40B4-BE49-F238E27FC236}">
                  <a16:creationId xmlns:a16="http://schemas.microsoft.com/office/drawing/2014/main" id="{77E6A40B-7D23-A290-D1B6-80240835A6DF}"/>
                </a:ext>
              </a:extLst>
            </p:cNvPr>
            <p:cNvSpPr/>
            <p:nvPr/>
          </p:nvSpPr>
          <p:spPr>
            <a:xfrm>
              <a:off x="5705554" y="-1844998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0" name="Freeform: Shape 609">
              <a:extLst>
                <a:ext uri="{FF2B5EF4-FFF2-40B4-BE49-F238E27FC236}">
                  <a16:creationId xmlns:a16="http://schemas.microsoft.com/office/drawing/2014/main" id="{65004011-F3C3-B7B5-E1CE-12C63820604D}"/>
                </a:ext>
              </a:extLst>
            </p:cNvPr>
            <p:cNvSpPr/>
            <p:nvPr/>
          </p:nvSpPr>
          <p:spPr>
            <a:xfrm>
              <a:off x="5760418" y="-18804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1" name="Freeform: Shape 610">
              <a:extLst>
                <a:ext uri="{FF2B5EF4-FFF2-40B4-BE49-F238E27FC236}">
                  <a16:creationId xmlns:a16="http://schemas.microsoft.com/office/drawing/2014/main" id="{9513EAAF-611F-FA59-0B8F-2E5ED4326C59}"/>
                </a:ext>
              </a:extLst>
            </p:cNvPr>
            <p:cNvSpPr/>
            <p:nvPr/>
          </p:nvSpPr>
          <p:spPr>
            <a:xfrm>
              <a:off x="5853001" y="-1793563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2" name="Freeform: Shape 611">
              <a:extLst>
                <a:ext uri="{FF2B5EF4-FFF2-40B4-BE49-F238E27FC236}">
                  <a16:creationId xmlns:a16="http://schemas.microsoft.com/office/drawing/2014/main" id="{B67753E9-78E5-940B-C105-07CBB0532EDF}"/>
                </a:ext>
              </a:extLst>
            </p:cNvPr>
            <p:cNvSpPr/>
            <p:nvPr/>
          </p:nvSpPr>
          <p:spPr>
            <a:xfrm>
              <a:off x="5909008" y="-18278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3" name="Freeform: Shape 612">
              <a:extLst>
                <a:ext uri="{FF2B5EF4-FFF2-40B4-BE49-F238E27FC236}">
                  <a16:creationId xmlns:a16="http://schemas.microsoft.com/office/drawing/2014/main" id="{400E2207-1EFB-D6FE-A27F-F7D81B197BC5}"/>
                </a:ext>
              </a:extLst>
            </p:cNvPr>
            <p:cNvSpPr/>
            <p:nvPr/>
          </p:nvSpPr>
          <p:spPr>
            <a:xfrm>
              <a:off x="6183328" y="-168840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4" name="Freeform: Shape 613">
              <a:extLst>
                <a:ext uri="{FF2B5EF4-FFF2-40B4-BE49-F238E27FC236}">
                  <a16:creationId xmlns:a16="http://schemas.microsoft.com/office/drawing/2014/main" id="{6E917278-3860-9B0E-6FDD-A3B7F645AB69}"/>
                </a:ext>
              </a:extLst>
            </p:cNvPr>
            <p:cNvSpPr/>
            <p:nvPr/>
          </p:nvSpPr>
          <p:spPr>
            <a:xfrm>
              <a:off x="6239335" y="-17226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5" name="Freeform: Shape 614">
              <a:extLst>
                <a:ext uri="{FF2B5EF4-FFF2-40B4-BE49-F238E27FC236}">
                  <a16:creationId xmlns:a16="http://schemas.microsoft.com/office/drawing/2014/main" id="{F6B3ED64-C59B-5E7F-3F74-417A2DB77D7D}"/>
                </a:ext>
              </a:extLst>
            </p:cNvPr>
            <p:cNvSpPr/>
            <p:nvPr/>
          </p:nvSpPr>
          <p:spPr>
            <a:xfrm>
              <a:off x="6655387" y="-14929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6" name="Freeform: Shape 615">
              <a:extLst>
                <a:ext uri="{FF2B5EF4-FFF2-40B4-BE49-F238E27FC236}">
                  <a16:creationId xmlns:a16="http://schemas.microsoft.com/office/drawing/2014/main" id="{0A25C0FC-069F-CC34-7A19-2602D75292CA}"/>
                </a:ext>
              </a:extLst>
            </p:cNvPr>
            <p:cNvSpPr/>
            <p:nvPr/>
          </p:nvSpPr>
          <p:spPr>
            <a:xfrm>
              <a:off x="6711394" y="-152838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7" name="Freeform: Shape 616">
              <a:extLst>
                <a:ext uri="{FF2B5EF4-FFF2-40B4-BE49-F238E27FC236}">
                  <a16:creationId xmlns:a16="http://schemas.microsoft.com/office/drawing/2014/main" id="{6AA9EF5B-0F72-5D31-B13D-DDD6CC868F69}"/>
                </a:ext>
              </a:extLst>
            </p:cNvPr>
            <p:cNvSpPr/>
            <p:nvPr/>
          </p:nvSpPr>
          <p:spPr>
            <a:xfrm>
              <a:off x="6703393" y="-14929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8" name="Freeform: Shape 617">
              <a:extLst>
                <a:ext uri="{FF2B5EF4-FFF2-40B4-BE49-F238E27FC236}">
                  <a16:creationId xmlns:a16="http://schemas.microsoft.com/office/drawing/2014/main" id="{086F0CDF-E177-10B1-A8D1-55035CA037BF}"/>
                </a:ext>
              </a:extLst>
            </p:cNvPr>
            <p:cNvSpPr/>
            <p:nvPr/>
          </p:nvSpPr>
          <p:spPr>
            <a:xfrm>
              <a:off x="6759400" y="-152838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9" name="Freeform: Shape 618">
              <a:extLst>
                <a:ext uri="{FF2B5EF4-FFF2-40B4-BE49-F238E27FC236}">
                  <a16:creationId xmlns:a16="http://schemas.microsoft.com/office/drawing/2014/main" id="{87925D8C-8AB2-4157-40B3-D905D4A42D6C}"/>
                </a:ext>
              </a:extLst>
            </p:cNvPr>
            <p:cNvSpPr/>
            <p:nvPr/>
          </p:nvSpPr>
          <p:spPr>
            <a:xfrm>
              <a:off x="6951424" y="-1439233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0" name="Freeform: Shape 619">
              <a:extLst>
                <a:ext uri="{FF2B5EF4-FFF2-40B4-BE49-F238E27FC236}">
                  <a16:creationId xmlns:a16="http://schemas.microsoft.com/office/drawing/2014/main" id="{E00B9721-F330-A947-9507-25D3ED428B41}"/>
                </a:ext>
              </a:extLst>
            </p:cNvPr>
            <p:cNvSpPr/>
            <p:nvPr/>
          </p:nvSpPr>
          <p:spPr>
            <a:xfrm>
              <a:off x="7007431" y="-147466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1" name="Freeform: Shape 620">
              <a:extLst>
                <a:ext uri="{FF2B5EF4-FFF2-40B4-BE49-F238E27FC236}">
                  <a16:creationId xmlns:a16="http://schemas.microsoft.com/office/drawing/2014/main" id="{9AFA8F3F-E6A9-A668-E0FB-F5B0AA06C496}"/>
                </a:ext>
              </a:extLst>
            </p:cNvPr>
            <p:cNvSpPr/>
            <p:nvPr/>
          </p:nvSpPr>
          <p:spPr>
            <a:xfrm>
              <a:off x="7145734" y="-14209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2" name="Freeform: Shape 621">
              <a:extLst>
                <a:ext uri="{FF2B5EF4-FFF2-40B4-BE49-F238E27FC236}">
                  <a16:creationId xmlns:a16="http://schemas.microsoft.com/office/drawing/2014/main" id="{5745EBC1-7E2C-2B03-E2AF-2192614EAEAA}"/>
                </a:ext>
              </a:extLst>
            </p:cNvPr>
            <p:cNvSpPr/>
            <p:nvPr/>
          </p:nvSpPr>
          <p:spPr>
            <a:xfrm>
              <a:off x="7201741" y="-145637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3" name="Freeform: Shape 622">
              <a:extLst>
                <a:ext uri="{FF2B5EF4-FFF2-40B4-BE49-F238E27FC236}">
                  <a16:creationId xmlns:a16="http://schemas.microsoft.com/office/drawing/2014/main" id="{8F350DC3-E397-563D-FB49-A6280D30C70C}"/>
                </a:ext>
              </a:extLst>
            </p:cNvPr>
            <p:cNvSpPr/>
            <p:nvPr/>
          </p:nvSpPr>
          <p:spPr>
            <a:xfrm>
              <a:off x="7164022" y="-14209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4" name="Freeform: Shape 623">
              <a:extLst>
                <a:ext uri="{FF2B5EF4-FFF2-40B4-BE49-F238E27FC236}">
                  <a16:creationId xmlns:a16="http://schemas.microsoft.com/office/drawing/2014/main" id="{2956348B-91F1-908A-2731-1AE5D1F36844}"/>
                </a:ext>
              </a:extLst>
            </p:cNvPr>
            <p:cNvSpPr/>
            <p:nvPr/>
          </p:nvSpPr>
          <p:spPr>
            <a:xfrm>
              <a:off x="7220029" y="-145637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5" name="Freeform: Shape 624">
              <a:extLst>
                <a:ext uri="{FF2B5EF4-FFF2-40B4-BE49-F238E27FC236}">
                  <a16:creationId xmlns:a16="http://schemas.microsoft.com/office/drawing/2014/main" id="{380BBE19-758F-2088-AB91-04B8FB1CBEA0}"/>
                </a:ext>
              </a:extLst>
            </p:cNvPr>
            <p:cNvSpPr/>
            <p:nvPr/>
          </p:nvSpPr>
          <p:spPr>
            <a:xfrm>
              <a:off x="7186882" y="-14209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6" name="Freeform: Shape 625">
              <a:extLst>
                <a:ext uri="{FF2B5EF4-FFF2-40B4-BE49-F238E27FC236}">
                  <a16:creationId xmlns:a16="http://schemas.microsoft.com/office/drawing/2014/main" id="{3B4C2A61-74B6-A960-AFDE-E1DCF3CA0758}"/>
                </a:ext>
              </a:extLst>
            </p:cNvPr>
            <p:cNvSpPr/>
            <p:nvPr/>
          </p:nvSpPr>
          <p:spPr>
            <a:xfrm>
              <a:off x="7242889" y="-145637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7" name="Freeform: Shape 626">
              <a:extLst>
                <a:ext uri="{FF2B5EF4-FFF2-40B4-BE49-F238E27FC236}">
                  <a16:creationId xmlns:a16="http://schemas.microsoft.com/office/drawing/2014/main" id="{01123171-7AA5-E361-F4B0-71908261E8DF}"/>
                </a:ext>
              </a:extLst>
            </p:cNvPr>
            <p:cNvSpPr/>
            <p:nvPr/>
          </p:nvSpPr>
          <p:spPr>
            <a:xfrm>
              <a:off x="7712662" y="-130893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8" name="Freeform: Shape 627">
              <a:extLst>
                <a:ext uri="{FF2B5EF4-FFF2-40B4-BE49-F238E27FC236}">
                  <a16:creationId xmlns:a16="http://schemas.microsoft.com/office/drawing/2014/main" id="{02E2FE38-09A6-FA22-E274-733DC9CC7787}"/>
                </a:ext>
              </a:extLst>
            </p:cNvPr>
            <p:cNvSpPr/>
            <p:nvPr/>
          </p:nvSpPr>
          <p:spPr>
            <a:xfrm>
              <a:off x="7768669" y="-134322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9" name="Freeform: Shape 628">
              <a:extLst>
                <a:ext uri="{FF2B5EF4-FFF2-40B4-BE49-F238E27FC236}">
                  <a16:creationId xmlns:a16="http://schemas.microsoft.com/office/drawing/2014/main" id="{4602B901-FA48-D1B0-41BC-A779B2A09DD5}"/>
                </a:ext>
              </a:extLst>
            </p:cNvPr>
            <p:cNvSpPr/>
            <p:nvPr/>
          </p:nvSpPr>
          <p:spPr>
            <a:xfrm>
              <a:off x="7730950" y="-1308931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0" name="Freeform: Shape 629">
              <a:extLst>
                <a:ext uri="{FF2B5EF4-FFF2-40B4-BE49-F238E27FC236}">
                  <a16:creationId xmlns:a16="http://schemas.microsoft.com/office/drawing/2014/main" id="{B1CD9C3E-2F5B-F775-3D6E-9C7553A66FDF}"/>
                </a:ext>
              </a:extLst>
            </p:cNvPr>
            <p:cNvSpPr/>
            <p:nvPr/>
          </p:nvSpPr>
          <p:spPr>
            <a:xfrm>
              <a:off x="7786957" y="-134322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1" name="Freeform: Shape 630">
              <a:extLst>
                <a:ext uri="{FF2B5EF4-FFF2-40B4-BE49-F238E27FC236}">
                  <a16:creationId xmlns:a16="http://schemas.microsoft.com/office/drawing/2014/main" id="{AD93AF06-6CEC-44C3-75EC-E9C19C3B527D}"/>
                </a:ext>
              </a:extLst>
            </p:cNvPr>
            <p:cNvSpPr/>
            <p:nvPr/>
          </p:nvSpPr>
          <p:spPr>
            <a:xfrm>
              <a:off x="7984696" y="-1270069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2" name="Freeform: Shape 631">
              <a:extLst>
                <a:ext uri="{FF2B5EF4-FFF2-40B4-BE49-F238E27FC236}">
                  <a16:creationId xmlns:a16="http://schemas.microsoft.com/office/drawing/2014/main" id="{AAC9B4A9-D5D5-6078-CC9D-F5FB7017FC7C}"/>
                </a:ext>
              </a:extLst>
            </p:cNvPr>
            <p:cNvSpPr/>
            <p:nvPr/>
          </p:nvSpPr>
          <p:spPr>
            <a:xfrm>
              <a:off x="8040703" y="-130435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3" name="Freeform: Shape 632">
              <a:extLst>
                <a:ext uri="{FF2B5EF4-FFF2-40B4-BE49-F238E27FC236}">
                  <a16:creationId xmlns:a16="http://schemas.microsoft.com/office/drawing/2014/main" id="{3FD664C9-0477-7533-1E25-673EF5B73762}"/>
                </a:ext>
              </a:extLst>
            </p:cNvPr>
            <p:cNvSpPr/>
            <p:nvPr/>
          </p:nvSpPr>
          <p:spPr>
            <a:xfrm>
              <a:off x="8072707" y="-12597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4" name="Freeform: Shape 633">
              <a:extLst>
                <a:ext uri="{FF2B5EF4-FFF2-40B4-BE49-F238E27FC236}">
                  <a16:creationId xmlns:a16="http://schemas.microsoft.com/office/drawing/2014/main" id="{B19B2E62-102C-2786-1377-899BF3747BD4}"/>
                </a:ext>
              </a:extLst>
            </p:cNvPr>
            <p:cNvSpPr/>
            <p:nvPr/>
          </p:nvSpPr>
          <p:spPr>
            <a:xfrm>
              <a:off x="8128714" y="-129521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5" name="Freeform: Shape 634">
              <a:extLst>
                <a:ext uri="{FF2B5EF4-FFF2-40B4-BE49-F238E27FC236}">
                  <a16:creationId xmlns:a16="http://schemas.microsoft.com/office/drawing/2014/main" id="{1880A89B-C117-302E-68EA-2CF32B9ABEC4}"/>
                </a:ext>
              </a:extLst>
            </p:cNvPr>
            <p:cNvSpPr/>
            <p:nvPr/>
          </p:nvSpPr>
          <p:spPr>
            <a:xfrm>
              <a:off x="8497903" y="-12003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6" name="Freeform: Shape 635">
              <a:extLst>
                <a:ext uri="{FF2B5EF4-FFF2-40B4-BE49-F238E27FC236}">
                  <a16:creationId xmlns:a16="http://schemas.microsoft.com/office/drawing/2014/main" id="{BA119394-D1AA-1F3A-7694-88D61B95BEA7}"/>
                </a:ext>
              </a:extLst>
            </p:cNvPr>
            <p:cNvSpPr/>
            <p:nvPr/>
          </p:nvSpPr>
          <p:spPr>
            <a:xfrm>
              <a:off x="8553910" y="-123577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7" name="Freeform: Shape 636">
              <a:extLst>
                <a:ext uri="{FF2B5EF4-FFF2-40B4-BE49-F238E27FC236}">
                  <a16:creationId xmlns:a16="http://schemas.microsoft.com/office/drawing/2014/main" id="{36EE4A7B-9EB0-1F76-1220-1A39575BB2A2}"/>
                </a:ext>
              </a:extLst>
            </p:cNvPr>
            <p:cNvSpPr/>
            <p:nvPr/>
          </p:nvSpPr>
          <p:spPr>
            <a:xfrm>
              <a:off x="8764222" y="-118091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8" name="Freeform: Shape 637">
              <a:extLst>
                <a:ext uri="{FF2B5EF4-FFF2-40B4-BE49-F238E27FC236}">
                  <a16:creationId xmlns:a16="http://schemas.microsoft.com/office/drawing/2014/main" id="{AA7B2234-79C1-6573-79A4-58430B92361F}"/>
                </a:ext>
              </a:extLst>
            </p:cNvPr>
            <p:cNvSpPr/>
            <p:nvPr/>
          </p:nvSpPr>
          <p:spPr>
            <a:xfrm>
              <a:off x="8820229" y="-121520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9" name="Freeform: Shape 638">
              <a:extLst>
                <a:ext uri="{FF2B5EF4-FFF2-40B4-BE49-F238E27FC236}">
                  <a16:creationId xmlns:a16="http://schemas.microsoft.com/office/drawing/2014/main" id="{78D8EA38-E61C-B9D9-4F08-6569517B7623}"/>
                </a:ext>
              </a:extLst>
            </p:cNvPr>
            <p:cNvSpPr/>
            <p:nvPr/>
          </p:nvSpPr>
          <p:spPr>
            <a:xfrm>
              <a:off x="8917384" y="-11500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0" name="Freeform: Shape 639">
              <a:extLst>
                <a:ext uri="{FF2B5EF4-FFF2-40B4-BE49-F238E27FC236}">
                  <a16:creationId xmlns:a16="http://schemas.microsoft.com/office/drawing/2014/main" id="{383AFB79-432B-68AF-B031-7815BF064C89}"/>
                </a:ext>
              </a:extLst>
            </p:cNvPr>
            <p:cNvSpPr/>
            <p:nvPr/>
          </p:nvSpPr>
          <p:spPr>
            <a:xfrm>
              <a:off x="8973391" y="-118548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1" name="Freeform: Shape 640">
              <a:extLst>
                <a:ext uri="{FF2B5EF4-FFF2-40B4-BE49-F238E27FC236}">
                  <a16:creationId xmlns:a16="http://schemas.microsoft.com/office/drawing/2014/main" id="{D5E6654C-7487-8321-C280-E6D12FE248D6}"/>
                </a:ext>
              </a:extLst>
            </p:cNvPr>
            <p:cNvSpPr/>
            <p:nvPr/>
          </p:nvSpPr>
          <p:spPr>
            <a:xfrm>
              <a:off x="9023683" y="-1150054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2" name="Freeform: Shape 641">
              <a:extLst>
                <a:ext uri="{FF2B5EF4-FFF2-40B4-BE49-F238E27FC236}">
                  <a16:creationId xmlns:a16="http://schemas.microsoft.com/office/drawing/2014/main" id="{BD45BD8B-80DE-996A-E098-B97F51FA7DD7}"/>
                </a:ext>
              </a:extLst>
            </p:cNvPr>
            <p:cNvSpPr/>
            <p:nvPr/>
          </p:nvSpPr>
          <p:spPr>
            <a:xfrm>
              <a:off x="9079690" y="-118548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3" name="Freeform: Shape 642">
              <a:extLst>
                <a:ext uri="{FF2B5EF4-FFF2-40B4-BE49-F238E27FC236}">
                  <a16:creationId xmlns:a16="http://schemas.microsoft.com/office/drawing/2014/main" id="{4E9AFEC9-97FD-92CD-257A-ABC78CA9B43E}"/>
                </a:ext>
              </a:extLst>
            </p:cNvPr>
            <p:cNvSpPr/>
            <p:nvPr/>
          </p:nvSpPr>
          <p:spPr>
            <a:xfrm>
              <a:off x="9035113" y="-11500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4" name="Freeform: Shape 643">
              <a:extLst>
                <a:ext uri="{FF2B5EF4-FFF2-40B4-BE49-F238E27FC236}">
                  <a16:creationId xmlns:a16="http://schemas.microsoft.com/office/drawing/2014/main" id="{4A015B00-BC70-1EA3-E477-A1CFE7F829A0}"/>
                </a:ext>
              </a:extLst>
            </p:cNvPr>
            <p:cNvSpPr/>
            <p:nvPr/>
          </p:nvSpPr>
          <p:spPr>
            <a:xfrm>
              <a:off x="9091120" y="-118548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5" name="Freeform: Shape 644">
              <a:extLst>
                <a:ext uri="{FF2B5EF4-FFF2-40B4-BE49-F238E27FC236}">
                  <a16:creationId xmlns:a16="http://schemas.microsoft.com/office/drawing/2014/main" id="{DDEF4C20-9582-F362-4630-F2A4665EFC13}"/>
                </a:ext>
              </a:extLst>
            </p:cNvPr>
            <p:cNvSpPr/>
            <p:nvPr/>
          </p:nvSpPr>
          <p:spPr>
            <a:xfrm>
              <a:off x="9094549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6" name="Freeform: Shape 645">
              <a:extLst>
                <a:ext uri="{FF2B5EF4-FFF2-40B4-BE49-F238E27FC236}">
                  <a16:creationId xmlns:a16="http://schemas.microsoft.com/office/drawing/2014/main" id="{927B9A72-1575-BEB1-3048-F7595764F047}"/>
                </a:ext>
              </a:extLst>
            </p:cNvPr>
            <p:cNvSpPr/>
            <p:nvPr/>
          </p:nvSpPr>
          <p:spPr>
            <a:xfrm>
              <a:off x="9150556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7" name="Freeform: Shape 646">
              <a:extLst>
                <a:ext uri="{FF2B5EF4-FFF2-40B4-BE49-F238E27FC236}">
                  <a16:creationId xmlns:a16="http://schemas.microsoft.com/office/drawing/2014/main" id="{86AF1BEE-A157-DE48-93A0-FDCE9FD91655}"/>
                </a:ext>
              </a:extLst>
            </p:cNvPr>
            <p:cNvSpPr/>
            <p:nvPr/>
          </p:nvSpPr>
          <p:spPr>
            <a:xfrm>
              <a:off x="9124267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8" name="Freeform: Shape 647">
              <a:extLst>
                <a:ext uri="{FF2B5EF4-FFF2-40B4-BE49-F238E27FC236}">
                  <a16:creationId xmlns:a16="http://schemas.microsoft.com/office/drawing/2014/main" id="{35877344-0822-84A4-3EB9-799E15A16CEB}"/>
                </a:ext>
              </a:extLst>
            </p:cNvPr>
            <p:cNvSpPr/>
            <p:nvPr/>
          </p:nvSpPr>
          <p:spPr>
            <a:xfrm>
              <a:off x="9180274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9" name="Freeform: Shape 648">
              <a:extLst>
                <a:ext uri="{FF2B5EF4-FFF2-40B4-BE49-F238E27FC236}">
                  <a16:creationId xmlns:a16="http://schemas.microsoft.com/office/drawing/2014/main" id="{E0647615-0AD4-1405-0B21-6133D8F68069}"/>
                </a:ext>
              </a:extLst>
            </p:cNvPr>
            <p:cNvSpPr/>
            <p:nvPr/>
          </p:nvSpPr>
          <p:spPr>
            <a:xfrm>
              <a:off x="9171130" y="-112833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0" name="Freeform: Shape 649">
              <a:extLst>
                <a:ext uri="{FF2B5EF4-FFF2-40B4-BE49-F238E27FC236}">
                  <a16:creationId xmlns:a16="http://schemas.microsoft.com/office/drawing/2014/main" id="{D7E057C5-EE3A-8D36-6B6A-F4A4F1EC66C3}"/>
                </a:ext>
              </a:extLst>
            </p:cNvPr>
            <p:cNvSpPr/>
            <p:nvPr/>
          </p:nvSpPr>
          <p:spPr>
            <a:xfrm>
              <a:off x="9227137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1" name="Freeform: Shape 650">
              <a:extLst>
                <a:ext uri="{FF2B5EF4-FFF2-40B4-BE49-F238E27FC236}">
                  <a16:creationId xmlns:a16="http://schemas.microsoft.com/office/drawing/2014/main" id="{4855CB5C-1C56-CDAA-F1B0-DA8D163239EA}"/>
                </a:ext>
              </a:extLst>
            </p:cNvPr>
            <p:cNvSpPr/>
            <p:nvPr/>
          </p:nvSpPr>
          <p:spPr>
            <a:xfrm>
              <a:off x="9183703" y="-112833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2" name="Freeform: Shape 651">
              <a:extLst>
                <a:ext uri="{FF2B5EF4-FFF2-40B4-BE49-F238E27FC236}">
                  <a16:creationId xmlns:a16="http://schemas.microsoft.com/office/drawing/2014/main" id="{43C26CE3-5C75-6A04-6F3A-CC252F09A63A}"/>
                </a:ext>
              </a:extLst>
            </p:cNvPr>
            <p:cNvSpPr/>
            <p:nvPr/>
          </p:nvSpPr>
          <p:spPr>
            <a:xfrm>
              <a:off x="9238567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3" name="Freeform: Shape 652">
              <a:extLst>
                <a:ext uri="{FF2B5EF4-FFF2-40B4-BE49-F238E27FC236}">
                  <a16:creationId xmlns:a16="http://schemas.microsoft.com/office/drawing/2014/main" id="{2B3B69F6-5094-4BD1-A166-1CBC93E4FD71}"/>
                </a:ext>
              </a:extLst>
            </p:cNvPr>
            <p:cNvSpPr/>
            <p:nvPr/>
          </p:nvSpPr>
          <p:spPr>
            <a:xfrm>
              <a:off x="9189418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4" name="Freeform: Shape 653">
              <a:extLst>
                <a:ext uri="{FF2B5EF4-FFF2-40B4-BE49-F238E27FC236}">
                  <a16:creationId xmlns:a16="http://schemas.microsoft.com/office/drawing/2014/main" id="{E6C698EE-7735-5ABC-B086-FE03FF00F9E5}"/>
                </a:ext>
              </a:extLst>
            </p:cNvPr>
            <p:cNvSpPr/>
            <p:nvPr/>
          </p:nvSpPr>
          <p:spPr>
            <a:xfrm>
              <a:off x="9245425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5" name="Freeform: Shape 654">
              <a:extLst>
                <a:ext uri="{FF2B5EF4-FFF2-40B4-BE49-F238E27FC236}">
                  <a16:creationId xmlns:a16="http://schemas.microsoft.com/office/drawing/2014/main" id="{1E87D978-C002-9197-5096-66C9061E6808}"/>
                </a:ext>
              </a:extLst>
            </p:cNvPr>
            <p:cNvSpPr/>
            <p:nvPr/>
          </p:nvSpPr>
          <p:spPr>
            <a:xfrm>
              <a:off x="9277429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6" name="Freeform: Shape 655">
              <a:extLst>
                <a:ext uri="{FF2B5EF4-FFF2-40B4-BE49-F238E27FC236}">
                  <a16:creationId xmlns:a16="http://schemas.microsoft.com/office/drawing/2014/main" id="{1734AA20-B0EA-5295-513B-C8566DC6B9A2}"/>
                </a:ext>
              </a:extLst>
            </p:cNvPr>
            <p:cNvSpPr/>
            <p:nvPr/>
          </p:nvSpPr>
          <p:spPr>
            <a:xfrm>
              <a:off x="9333436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7" name="Freeform: Shape 656">
              <a:extLst>
                <a:ext uri="{FF2B5EF4-FFF2-40B4-BE49-F238E27FC236}">
                  <a16:creationId xmlns:a16="http://schemas.microsoft.com/office/drawing/2014/main" id="{9878C878-16B3-8196-77EC-2A1CA85CF262}"/>
                </a:ext>
              </a:extLst>
            </p:cNvPr>
            <p:cNvSpPr/>
            <p:nvPr/>
          </p:nvSpPr>
          <p:spPr>
            <a:xfrm>
              <a:off x="9283144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8" name="Freeform: Shape 657">
              <a:extLst>
                <a:ext uri="{FF2B5EF4-FFF2-40B4-BE49-F238E27FC236}">
                  <a16:creationId xmlns:a16="http://schemas.microsoft.com/office/drawing/2014/main" id="{7F80615E-E606-12FF-BC00-BEA8E15A1721}"/>
                </a:ext>
              </a:extLst>
            </p:cNvPr>
            <p:cNvSpPr/>
            <p:nvPr/>
          </p:nvSpPr>
          <p:spPr>
            <a:xfrm>
              <a:off x="9339151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9" name="Freeform: Shape 658">
              <a:extLst>
                <a:ext uri="{FF2B5EF4-FFF2-40B4-BE49-F238E27FC236}">
                  <a16:creationId xmlns:a16="http://schemas.microsoft.com/office/drawing/2014/main" id="{EF48FC12-BD6D-4471-93FB-57D2ACF8FDE2}"/>
                </a:ext>
              </a:extLst>
            </p:cNvPr>
            <p:cNvSpPr/>
            <p:nvPr/>
          </p:nvSpPr>
          <p:spPr>
            <a:xfrm>
              <a:off x="9295717" y="-11157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0" name="Freeform: Shape 659">
              <a:extLst>
                <a:ext uri="{FF2B5EF4-FFF2-40B4-BE49-F238E27FC236}">
                  <a16:creationId xmlns:a16="http://schemas.microsoft.com/office/drawing/2014/main" id="{3772DB18-576B-3E4E-B5C8-94659188CC7D}"/>
                </a:ext>
              </a:extLst>
            </p:cNvPr>
            <p:cNvSpPr/>
            <p:nvPr/>
          </p:nvSpPr>
          <p:spPr>
            <a:xfrm>
              <a:off x="9351724" y="-115119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1" name="Freeform: Shape 660">
              <a:extLst>
                <a:ext uri="{FF2B5EF4-FFF2-40B4-BE49-F238E27FC236}">
                  <a16:creationId xmlns:a16="http://schemas.microsoft.com/office/drawing/2014/main" id="{5B6FE750-25EB-E852-A608-3D57A71D047D}"/>
                </a:ext>
              </a:extLst>
            </p:cNvPr>
            <p:cNvSpPr/>
            <p:nvPr/>
          </p:nvSpPr>
          <p:spPr>
            <a:xfrm>
              <a:off x="9295717" y="-11157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2" name="Freeform: Shape 661">
              <a:extLst>
                <a:ext uri="{FF2B5EF4-FFF2-40B4-BE49-F238E27FC236}">
                  <a16:creationId xmlns:a16="http://schemas.microsoft.com/office/drawing/2014/main" id="{8C030359-9745-8B5B-C3EB-5D613FC32909}"/>
                </a:ext>
              </a:extLst>
            </p:cNvPr>
            <p:cNvSpPr/>
            <p:nvPr/>
          </p:nvSpPr>
          <p:spPr>
            <a:xfrm>
              <a:off x="9351724" y="-115119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3" name="Freeform: Shape 662">
              <a:extLst>
                <a:ext uri="{FF2B5EF4-FFF2-40B4-BE49-F238E27FC236}">
                  <a16:creationId xmlns:a16="http://schemas.microsoft.com/office/drawing/2014/main" id="{A8D50588-F01F-9BAE-1254-A47F1B896414}"/>
                </a:ext>
              </a:extLst>
            </p:cNvPr>
            <p:cNvSpPr/>
            <p:nvPr/>
          </p:nvSpPr>
          <p:spPr>
            <a:xfrm>
              <a:off x="9307147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4" name="Freeform: Shape 663">
              <a:extLst>
                <a:ext uri="{FF2B5EF4-FFF2-40B4-BE49-F238E27FC236}">
                  <a16:creationId xmlns:a16="http://schemas.microsoft.com/office/drawing/2014/main" id="{02D902D7-44C5-3FEB-77FA-51B796424CBA}"/>
                </a:ext>
              </a:extLst>
            </p:cNvPr>
            <p:cNvSpPr/>
            <p:nvPr/>
          </p:nvSpPr>
          <p:spPr>
            <a:xfrm>
              <a:off x="9363154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5" name="Freeform: Shape 664">
              <a:extLst>
                <a:ext uri="{FF2B5EF4-FFF2-40B4-BE49-F238E27FC236}">
                  <a16:creationId xmlns:a16="http://schemas.microsoft.com/office/drawing/2014/main" id="{E94D1D31-6833-7A58-9FE9-4B066E5F3F20}"/>
                </a:ext>
              </a:extLst>
            </p:cNvPr>
            <p:cNvSpPr/>
            <p:nvPr/>
          </p:nvSpPr>
          <p:spPr>
            <a:xfrm>
              <a:off x="9307147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6" name="Freeform: Shape 665">
              <a:extLst>
                <a:ext uri="{FF2B5EF4-FFF2-40B4-BE49-F238E27FC236}">
                  <a16:creationId xmlns:a16="http://schemas.microsoft.com/office/drawing/2014/main" id="{BD8DCEFC-05F0-2B92-3E01-1CA4EF91E3E4}"/>
                </a:ext>
              </a:extLst>
            </p:cNvPr>
            <p:cNvSpPr/>
            <p:nvPr/>
          </p:nvSpPr>
          <p:spPr>
            <a:xfrm>
              <a:off x="9363154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7" name="Freeform: Shape 666">
              <a:extLst>
                <a:ext uri="{FF2B5EF4-FFF2-40B4-BE49-F238E27FC236}">
                  <a16:creationId xmlns:a16="http://schemas.microsoft.com/office/drawing/2014/main" id="{F6DA33B8-4E23-8801-CD83-41509FA0836A}"/>
                </a:ext>
              </a:extLst>
            </p:cNvPr>
            <p:cNvSpPr/>
            <p:nvPr/>
          </p:nvSpPr>
          <p:spPr>
            <a:xfrm>
              <a:off x="9312862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8" name="Freeform: Shape 667">
              <a:extLst>
                <a:ext uri="{FF2B5EF4-FFF2-40B4-BE49-F238E27FC236}">
                  <a16:creationId xmlns:a16="http://schemas.microsoft.com/office/drawing/2014/main" id="{3AE9AB03-6887-2798-8AEF-600C0A63175E}"/>
                </a:ext>
              </a:extLst>
            </p:cNvPr>
            <p:cNvSpPr/>
            <p:nvPr/>
          </p:nvSpPr>
          <p:spPr>
            <a:xfrm>
              <a:off x="9368869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9" name="Freeform: Shape 668">
              <a:extLst>
                <a:ext uri="{FF2B5EF4-FFF2-40B4-BE49-F238E27FC236}">
                  <a16:creationId xmlns:a16="http://schemas.microsoft.com/office/drawing/2014/main" id="{20463445-79B1-7733-90BF-DF8D78F6C582}"/>
                </a:ext>
              </a:extLst>
            </p:cNvPr>
            <p:cNvSpPr/>
            <p:nvPr/>
          </p:nvSpPr>
          <p:spPr>
            <a:xfrm>
              <a:off x="9318577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0" name="Freeform: Shape 669">
              <a:extLst>
                <a:ext uri="{FF2B5EF4-FFF2-40B4-BE49-F238E27FC236}">
                  <a16:creationId xmlns:a16="http://schemas.microsoft.com/office/drawing/2014/main" id="{674369EE-0990-B473-3CA6-7240E3E44E38}"/>
                </a:ext>
              </a:extLst>
            </p:cNvPr>
            <p:cNvSpPr/>
            <p:nvPr/>
          </p:nvSpPr>
          <p:spPr>
            <a:xfrm>
              <a:off x="9374584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1" name="Freeform: Shape 670">
              <a:extLst>
                <a:ext uri="{FF2B5EF4-FFF2-40B4-BE49-F238E27FC236}">
                  <a16:creationId xmlns:a16="http://schemas.microsoft.com/office/drawing/2014/main" id="{4F92FA19-5574-36C7-329E-7808A8F0F4D1}"/>
                </a:ext>
              </a:extLst>
            </p:cNvPr>
            <p:cNvSpPr/>
            <p:nvPr/>
          </p:nvSpPr>
          <p:spPr>
            <a:xfrm>
              <a:off x="9342580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2" name="Freeform: Shape 671">
              <a:extLst>
                <a:ext uri="{FF2B5EF4-FFF2-40B4-BE49-F238E27FC236}">
                  <a16:creationId xmlns:a16="http://schemas.microsoft.com/office/drawing/2014/main" id="{0A0BAB42-EC4F-5F29-6F34-9436A7A1CAAD}"/>
                </a:ext>
              </a:extLst>
            </p:cNvPr>
            <p:cNvSpPr/>
            <p:nvPr/>
          </p:nvSpPr>
          <p:spPr>
            <a:xfrm>
              <a:off x="9398587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3" name="Freeform: Shape 672">
              <a:extLst>
                <a:ext uri="{FF2B5EF4-FFF2-40B4-BE49-F238E27FC236}">
                  <a16:creationId xmlns:a16="http://schemas.microsoft.com/office/drawing/2014/main" id="{26840B7D-B6F2-E95B-C474-500F3C21D639}"/>
                </a:ext>
              </a:extLst>
            </p:cNvPr>
            <p:cNvSpPr/>
            <p:nvPr/>
          </p:nvSpPr>
          <p:spPr>
            <a:xfrm>
              <a:off x="9413446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4" name="Freeform: Shape 673">
              <a:extLst>
                <a:ext uri="{FF2B5EF4-FFF2-40B4-BE49-F238E27FC236}">
                  <a16:creationId xmlns:a16="http://schemas.microsoft.com/office/drawing/2014/main" id="{E2F7229D-1F43-EE77-EAC8-4B99E5AAED4B}"/>
                </a:ext>
              </a:extLst>
            </p:cNvPr>
            <p:cNvSpPr/>
            <p:nvPr/>
          </p:nvSpPr>
          <p:spPr>
            <a:xfrm>
              <a:off x="9469453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5" name="Freeform: Shape 674">
              <a:extLst>
                <a:ext uri="{FF2B5EF4-FFF2-40B4-BE49-F238E27FC236}">
                  <a16:creationId xmlns:a16="http://schemas.microsoft.com/office/drawing/2014/main" id="{E24CE28C-4B5D-8426-A1FD-B79D1A17ABC4}"/>
                </a:ext>
              </a:extLst>
            </p:cNvPr>
            <p:cNvSpPr/>
            <p:nvPr/>
          </p:nvSpPr>
          <p:spPr>
            <a:xfrm>
              <a:off x="9419161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6" name="Freeform: Shape 675">
              <a:extLst>
                <a:ext uri="{FF2B5EF4-FFF2-40B4-BE49-F238E27FC236}">
                  <a16:creationId xmlns:a16="http://schemas.microsoft.com/office/drawing/2014/main" id="{800F863E-621D-5F5E-C897-666B865B0D73}"/>
                </a:ext>
              </a:extLst>
            </p:cNvPr>
            <p:cNvSpPr/>
            <p:nvPr/>
          </p:nvSpPr>
          <p:spPr>
            <a:xfrm>
              <a:off x="947516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7" name="Freeform: Shape 676">
              <a:extLst>
                <a:ext uri="{FF2B5EF4-FFF2-40B4-BE49-F238E27FC236}">
                  <a16:creationId xmlns:a16="http://schemas.microsoft.com/office/drawing/2014/main" id="{2F68CDA6-0F3D-4ED1-7E83-4DD327012F17}"/>
                </a:ext>
              </a:extLst>
            </p:cNvPr>
            <p:cNvSpPr/>
            <p:nvPr/>
          </p:nvSpPr>
          <p:spPr>
            <a:xfrm>
              <a:off x="9424876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8" name="Freeform: Shape 677">
              <a:extLst>
                <a:ext uri="{FF2B5EF4-FFF2-40B4-BE49-F238E27FC236}">
                  <a16:creationId xmlns:a16="http://schemas.microsoft.com/office/drawing/2014/main" id="{86A711A8-C52F-8655-2021-2DC3D8AE6F0E}"/>
                </a:ext>
              </a:extLst>
            </p:cNvPr>
            <p:cNvSpPr/>
            <p:nvPr/>
          </p:nvSpPr>
          <p:spPr>
            <a:xfrm>
              <a:off x="9480883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9" name="Freeform: Shape 678">
              <a:extLst>
                <a:ext uri="{FF2B5EF4-FFF2-40B4-BE49-F238E27FC236}">
                  <a16:creationId xmlns:a16="http://schemas.microsoft.com/office/drawing/2014/main" id="{90CF2615-B9F3-5E68-86A5-4335AE09BB10}"/>
                </a:ext>
              </a:extLst>
            </p:cNvPr>
            <p:cNvSpPr/>
            <p:nvPr/>
          </p:nvSpPr>
          <p:spPr>
            <a:xfrm>
              <a:off x="9424876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0" name="Freeform: Shape 679">
              <a:extLst>
                <a:ext uri="{FF2B5EF4-FFF2-40B4-BE49-F238E27FC236}">
                  <a16:creationId xmlns:a16="http://schemas.microsoft.com/office/drawing/2014/main" id="{AFC0E019-2812-4F36-2E55-5739C98A76CC}"/>
                </a:ext>
              </a:extLst>
            </p:cNvPr>
            <p:cNvSpPr/>
            <p:nvPr/>
          </p:nvSpPr>
          <p:spPr>
            <a:xfrm>
              <a:off x="9480883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1" name="Freeform: Shape 680">
              <a:extLst>
                <a:ext uri="{FF2B5EF4-FFF2-40B4-BE49-F238E27FC236}">
                  <a16:creationId xmlns:a16="http://schemas.microsoft.com/office/drawing/2014/main" id="{D7EECD20-DF63-A6C0-95C2-196F145BC7D9}"/>
                </a:ext>
              </a:extLst>
            </p:cNvPr>
            <p:cNvSpPr/>
            <p:nvPr/>
          </p:nvSpPr>
          <p:spPr>
            <a:xfrm>
              <a:off x="9495742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2" name="Freeform: Shape 681">
              <a:extLst>
                <a:ext uri="{FF2B5EF4-FFF2-40B4-BE49-F238E27FC236}">
                  <a16:creationId xmlns:a16="http://schemas.microsoft.com/office/drawing/2014/main" id="{AB9AB5AC-E341-C9DD-F76B-CB6B72024992}"/>
                </a:ext>
              </a:extLst>
            </p:cNvPr>
            <p:cNvSpPr/>
            <p:nvPr/>
          </p:nvSpPr>
          <p:spPr>
            <a:xfrm>
              <a:off x="9551749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3" name="Freeform: Shape 682">
              <a:extLst>
                <a:ext uri="{FF2B5EF4-FFF2-40B4-BE49-F238E27FC236}">
                  <a16:creationId xmlns:a16="http://schemas.microsoft.com/office/drawing/2014/main" id="{32ECC056-B91D-BC24-EEE7-E2C3D0543A05}"/>
                </a:ext>
              </a:extLst>
            </p:cNvPr>
            <p:cNvSpPr/>
            <p:nvPr/>
          </p:nvSpPr>
          <p:spPr>
            <a:xfrm>
              <a:off x="9543748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4" name="Freeform: Shape 683">
              <a:extLst>
                <a:ext uri="{FF2B5EF4-FFF2-40B4-BE49-F238E27FC236}">
                  <a16:creationId xmlns:a16="http://schemas.microsoft.com/office/drawing/2014/main" id="{91587B04-BA65-B939-2E7C-DCF232440928}"/>
                </a:ext>
              </a:extLst>
            </p:cNvPr>
            <p:cNvSpPr/>
            <p:nvPr/>
          </p:nvSpPr>
          <p:spPr>
            <a:xfrm>
              <a:off x="9599755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5" name="Freeform: Shape 684">
              <a:extLst>
                <a:ext uri="{FF2B5EF4-FFF2-40B4-BE49-F238E27FC236}">
                  <a16:creationId xmlns:a16="http://schemas.microsoft.com/office/drawing/2014/main" id="{18A1209C-D817-87AE-D332-0545447C7674}"/>
                </a:ext>
              </a:extLst>
            </p:cNvPr>
            <p:cNvSpPr/>
            <p:nvPr/>
          </p:nvSpPr>
          <p:spPr>
            <a:xfrm>
              <a:off x="9555178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6" name="Freeform: Shape 685">
              <a:extLst>
                <a:ext uri="{FF2B5EF4-FFF2-40B4-BE49-F238E27FC236}">
                  <a16:creationId xmlns:a16="http://schemas.microsoft.com/office/drawing/2014/main" id="{BC37D26E-5606-C12F-47DA-6A9809720BF3}"/>
                </a:ext>
              </a:extLst>
            </p:cNvPr>
            <p:cNvSpPr/>
            <p:nvPr/>
          </p:nvSpPr>
          <p:spPr>
            <a:xfrm>
              <a:off x="9611185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7" name="Freeform: Shape 686">
              <a:extLst>
                <a:ext uri="{FF2B5EF4-FFF2-40B4-BE49-F238E27FC236}">
                  <a16:creationId xmlns:a16="http://schemas.microsoft.com/office/drawing/2014/main" id="{2224DA56-FA47-D9FA-9BAD-649AD05788C6}"/>
                </a:ext>
              </a:extLst>
            </p:cNvPr>
            <p:cNvSpPr/>
            <p:nvPr/>
          </p:nvSpPr>
          <p:spPr>
            <a:xfrm>
              <a:off x="9560893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8" name="Freeform: Shape 687">
              <a:extLst>
                <a:ext uri="{FF2B5EF4-FFF2-40B4-BE49-F238E27FC236}">
                  <a16:creationId xmlns:a16="http://schemas.microsoft.com/office/drawing/2014/main" id="{E7DA7272-8A20-2C7C-6ABE-3B8E01377344}"/>
                </a:ext>
              </a:extLst>
            </p:cNvPr>
            <p:cNvSpPr/>
            <p:nvPr/>
          </p:nvSpPr>
          <p:spPr>
            <a:xfrm>
              <a:off x="9616900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9" name="Freeform: Shape 688">
              <a:extLst>
                <a:ext uri="{FF2B5EF4-FFF2-40B4-BE49-F238E27FC236}">
                  <a16:creationId xmlns:a16="http://schemas.microsoft.com/office/drawing/2014/main" id="{86870C47-4744-7E0D-267C-FB059C2636FF}"/>
                </a:ext>
              </a:extLst>
            </p:cNvPr>
            <p:cNvSpPr/>
            <p:nvPr/>
          </p:nvSpPr>
          <p:spPr>
            <a:xfrm>
              <a:off x="9579181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0" name="Freeform: Shape 689">
              <a:extLst>
                <a:ext uri="{FF2B5EF4-FFF2-40B4-BE49-F238E27FC236}">
                  <a16:creationId xmlns:a16="http://schemas.microsoft.com/office/drawing/2014/main" id="{CB42F563-95A5-4164-5D1D-ADE4DFD99A78}"/>
                </a:ext>
              </a:extLst>
            </p:cNvPr>
            <p:cNvSpPr/>
            <p:nvPr/>
          </p:nvSpPr>
          <p:spPr>
            <a:xfrm>
              <a:off x="963518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1" name="Freeform: Shape 690">
              <a:extLst>
                <a:ext uri="{FF2B5EF4-FFF2-40B4-BE49-F238E27FC236}">
                  <a16:creationId xmlns:a16="http://schemas.microsoft.com/office/drawing/2014/main" id="{BB10DCDA-F38B-5966-B603-CF2BF77F8601}"/>
                </a:ext>
              </a:extLst>
            </p:cNvPr>
            <p:cNvSpPr/>
            <p:nvPr/>
          </p:nvSpPr>
          <p:spPr>
            <a:xfrm>
              <a:off x="9590611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2" name="Freeform: Shape 691">
              <a:extLst>
                <a:ext uri="{FF2B5EF4-FFF2-40B4-BE49-F238E27FC236}">
                  <a16:creationId xmlns:a16="http://schemas.microsoft.com/office/drawing/2014/main" id="{F3145D98-D14C-8541-8110-F4D2A251E5A5}"/>
                </a:ext>
              </a:extLst>
            </p:cNvPr>
            <p:cNvSpPr/>
            <p:nvPr/>
          </p:nvSpPr>
          <p:spPr>
            <a:xfrm>
              <a:off x="964661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3" name="Freeform: Shape 692">
              <a:extLst>
                <a:ext uri="{FF2B5EF4-FFF2-40B4-BE49-F238E27FC236}">
                  <a16:creationId xmlns:a16="http://schemas.microsoft.com/office/drawing/2014/main" id="{EB499C81-75A4-6A53-C3CE-8CEAEB7BE697}"/>
                </a:ext>
              </a:extLst>
            </p:cNvPr>
            <p:cNvSpPr/>
            <p:nvPr/>
          </p:nvSpPr>
          <p:spPr>
            <a:xfrm>
              <a:off x="9626044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4" name="Freeform: Shape 693">
              <a:extLst>
                <a:ext uri="{FF2B5EF4-FFF2-40B4-BE49-F238E27FC236}">
                  <a16:creationId xmlns:a16="http://schemas.microsoft.com/office/drawing/2014/main" id="{33878BC4-C60A-EF37-2F4C-AF71F10D5378}"/>
                </a:ext>
              </a:extLst>
            </p:cNvPr>
            <p:cNvSpPr/>
            <p:nvPr/>
          </p:nvSpPr>
          <p:spPr>
            <a:xfrm>
              <a:off x="9682051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5" name="Freeform: Shape 694">
              <a:extLst>
                <a:ext uri="{FF2B5EF4-FFF2-40B4-BE49-F238E27FC236}">
                  <a16:creationId xmlns:a16="http://schemas.microsoft.com/office/drawing/2014/main" id="{59138E94-6CD6-0EF4-03AA-F7AACAB662A7}"/>
                </a:ext>
              </a:extLst>
            </p:cNvPr>
            <p:cNvSpPr/>
            <p:nvPr/>
          </p:nvSpPr>
          <p:spPr>
            <a:xfrm>
              <a:off x="9655762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6" name="Freeform: Shape 695">
              <a:extLst>
                <a:ext uri="{FF2B5EF4-FFF2-40B4-BE49-F238E27FC236}">
                  <a16:creationId xmlns:a16="http://schemas.microsoft.com/office/drawing/2014/main" id="{33D10B9F-978F-A074-7979-069F864CA343}"/>
                </a:ext>
              </a:extLst>
            </p:cNvPr>
            <p:cNvSpPr/>
            <p:nvPr/>
          </p:nvSpPr>
          <p:spPr>
            <a:xfrm>
              <a:off x="9711769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7" name="Freeform: Shape 696">
              <a:extLst>
                <a:ext uri="{FF2B5EF4-FFF2-40B4-BE49-F238E27FC236}">
                  <a16:creationId xmlns:a16="http://schemas.microsoft.com/office/drawing/2014/main" id="{C7BE4F29-5A1A-53C4-C926-B7E3BFD94D8D}"/>
                </a:ext>
              </a:extLst>
            </p:cNvPr>
            <p:cNvSpPr/>
            <p:nvPr/>
          </p:nvSpPr>
          <p:spPr>
            <a:xfrm>
              <a:off x="9667192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8" name="Freeform: Shape 697">
              <a:extLst>
                <a:ext uri="{FF2B5EF4-FFF2-40B4-BE49-F238E27FC236}">
                  <a16:creationId xmlns:a16="http://schemas.microsoft.com/office/drawing/2014/main" id="{722A8269-680F-D453-C51C-51C4456BE072}"/>
                </a:ext>
              </a:extLst>
            </p:cNvPr>
            <p:cNvSpPr/>
            <p:nvPr/>
          </p:nvSpPr>
          <p:spPr>
            <a:xfrm>
              <a:off x="9723199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9" name="Freeform: Shape 698">
              <a:extLst>
                <a:ext uri="{FF2B5EF4-FFF2-40B4-BE49-F238E27FC236}">
                  <a16:creationId xmlns:a16="http://schemas.microsoft.com/office/drawing/2014/main" id="{9D315854-2564-E0F8-BC9A-EBD52FD10E60}"/>
                </a:ext>
              </a:extLst>
            </p:cNvPr>
            <p:cNvSpPr/>
            <p:nvPr/>
          </p:nvSpPr>
          <p:spPr>
            <a:xfrm>
              <a:off x="9679765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0" name="Freeform: Shape 699">
              <a:extLst>
                <a:ext uri="{FF2B5EF4-FFF2-40B4-BE49-F238E27FC236}">
                  <a16:creationId xmlns:a16="http://schemas.microsoft.com/office/drawing/2014/main" id="{CAF3BE59-3E58-48B9-3164-A2D4B25EA3A2}"/>
                </a:ext>
              </a:extLst>
            </p:cNvPr>
            <p:cNvSpPr/>
            <p:nvPr/>
          </p:nvSpPr>
          <p:spPr>
            <a:xfrm>
              <a:off x="9735772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1" name="Freeform: Shape 700">
              <a:extLst>
                <a:ext uri="{FF2B5EF4-FFF2-40B4-BE49-F238E27FC236}">
                  <a16:creationId xmlns:a16="http://schemas.microsoft.com/office/drawing/2014/main" id="{FD3CA688-B1A0-AC07-C3DF-F31CDA866DC6}"/>
                </a:ext>
              </a:extLst>
            </p:cNvPr>
            <p:cNvSpPr/>
            <p:nvPr/>
          </p:nvSpPr>
          <p:spPr>
            <a:xfrm>
              <a:off x="9691195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2" name="Freeform: Shape 701">
              <a:extLst>
                <a:ext uri="{FF2B5EF4-FFF2-40B4-BE49-F238E27FC236}">
                  <a16:creationId xmlns:a16="http://schemas.microsoft.com/office/drawing/2014/main" id="{3006BDED-01CD-4A1E-820C-C9571DF13CB8}"/>
                </a:ext>
              </a:extLst>
            </p:cNvPr>
            <p:cNvSpPr/>
            <p:nvPr/>
          </p:nvSpPr>
          <p:spPr>
            <a:xfrm>
              <a:off x="9747202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3" name="Freeform: Shape 702">
              <a:extLst>
                <a:ext uri="{FF2B5EF4-FFF2-40B4-BE49-F238E27FC236}">
                  <a16:creationId xmlns:a16="http://schemas.microsoft.com/office/drawing/2014/main" id="{75A2B6A7-9F07-41B0-76E0-E72A7B4F1670}"/>
                </a:ext>
              </a:extLst>
            </p:cNvPr>
            <p:cNvSpPr/>
            <p:nvPr/>
          </p:nvSpPr>
          <p:spPr>
            <a:xfrm>
              <a:off x="9702625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4" name="Freeform: Shape 703">
              <a:extLst>
                <a:ext uri="{FF2B5EF4-FFF2-40B4-BE49-F238E27FC236}">
                  <a16:creationId xmlns:a16="http://schemas.microsoft.com/office/drawing/2014/main" id="{04689CB8-9CBA-E9B8-BB52-524262476F5A}"/>
                </a:ext>
              </a:extLst>
            </p:cNvPr>
            <p:cNvSpPr/>
            <p:nvPr/>
          </p:nvSpPr>
          <p:spPr>
            <a:xfrm>
              <a:off x="9758632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5" name="Freeform: Shape 704">
              <a:extLst>
                <a:ext uri="{FF2B5EF4-FFF2-40B4-BE49-F238E27FC236}">
                  <a16:creationId xmlns:a16="http://schemas.microsoft.com/office/drawing/2014/main" id="{CDCE621A-0925-CCC2-A456-52D3E41FADAB}"/>
                </a:ext>
              </a:extLst>
            </p:cNvPr>
            <p:cNvSpPr/>
            <p:nvPr/>
          </p:nvSpPr>
          <p:spPr>
            <a:xfrm>
              <a:off x="9786064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6" name="Freeform: Shape 705">
              <a:extLst>
                <a:ext uri="{FF2B5EF4-FFF2-40B4-BE49-F238E27FC236}">
                  <a16:creationId xmlns:a16="http://schemas.microsoft.com/office/drawing/2014/main" id="{2E3156CA-7F02-5733-F425-688140994115}"/>
                </a:ext>
              </a:extLst>
            </p:cNvPr>
            <p:cNvSpPr/>
            <p:nvPr/>
          </p:nvSpPr>
          <p:spPr>
            <a:xfrm>
              <a:off x="984092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7" name="Freeform: Shape 706">
              <a:extLst>
                <a:ext uri="{FF2B5EF4-FFF2-40B4-BE49-F238E27FC236}">
                  <a16:creationId xmlns:a16="http://schemas.microsoft.com/office/drawing/2014/main" id="{A93D0359-7133-822E-9C39-944FF0248336}"/>
                </a:ext>
              </a:extLst>
            </p:cNvPr>
            <p:cNvSpPr/>
            <p:nvPr/>
          </p:nvSpPr>
          <p:spPr>
            <a:xfrm>
              <a:off x="9786064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8" name="Freeform: Shape 707">
              <a:extLst>
                <a:ext uri="{FF2B5EF4-FFF2-40B4-BE49-F238E27FC236}">
                  <a16:creationId xmlns:a16="http://schemas.microsoft.com/office/drawing/2014/main" id="{881EE296-30E8-9D71-474C-11E9121CA8E3}"/>
                </a:ext>
              </a:extLst>
            </p:cNvPr>
            <p:cNvSpPr/>
            <p:nvPr/>
          </p:nvSpPr>
          <p:spPr>
            <a:xfrm>
              <a:off x="984092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9" name="Freeform: Shape 708">
              <a:extLst>
                <a:ext uri="{FF2B5EF4-FFF2-40B4-BE49-F238E27FC236}">
                  <a16:creationId xmlns:a16="http://schemas.microsoft.com/office/drawing/2014/main" id="{CFC0176F-E021-EEBE-08B9-525142DF7EBC}"/>
                </a:ext>
              </a:extLst>
            </p:cNvPr>
            <p:cNvSpPr/>
            <p:nvPr/>
          </p:nvSpPr>
          <p:spPr>
            <a:xfrm>
              <a:off x="9832927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0" name="Freeform: Shape 709">
              <a:extLst>
                <a:ext uri="{FF2B5EF4-FFF2-40B4-BE49-F238E27FC236}">
                  <a16:creationId xmlns:a16="http://schemas.microsoft.com/office/drawing/2014/main" id="{A4E5359C-3ABE-8B62-45B0-EFF0CCA64E85}"/>
                </a:ext>
              </a:extLst>
            </p:cNvPr>
            <p:cNvSpPr/>
            <p:nvPr/>
          </p:nvSpPr>
          <p:spPr>
            <a:xfrm>
              <a:off x="9888934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1" name="Freeform: Shape 710">
              <a:extLst>
                <a:ext uri="{FF2B5EF4-FFF2-40B4-BE49-F238E27FC236}">
                  <a16:creationId xmlns:a16="http://schemas.microsoft.com/office/drawing/2014/main" id="{E1DB20A8-B1FF-400C-5630-9F8C5AA48168}"/>
                </a:ext>
              </a:extLst>
            </p:cNvPr>
            <p:cNvSpPr/>
            <p:nvPr/>
          </p:nvSpPr>
          <p:spPr>
            <a:xfrm>
              <a:off x="9920938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2" name="Freeform: Shape 711">
              <a:extLst>
                <a:ext uri="{FF2B5EF4-FFF2-40B4-BE49-F238E27FC236}">
                  <a16:creationId xmlns:a16="http://schemas.microsoft.com/office/drawing/2014/main" id="{C2EAA8E9-8248-8079-F31C-68B2374CD96D}"/>
                </a:ext>
              </a:extLst>
            </p:cNvPr>
            <p:cNvSpPr/>
            <p:nvPr/>
          </p:nvSpPr>
          <p:spPr>
            <a:xfrm>
              <a:off x="9976945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3" name="Freeform: Shape 712">
              <a:extLst>
                <a:ext uri="{FF2B5EF4-FFF2-40B4-BE49-F238E27FC236}">
                  <a16:creationId xmlns:a16="http://schemas.microsoft.com/office/drawing/2014/main" id="{45039965-AD6D-47EC-0C2A-27AF89A5F342}"/>
                </a:ext>
              </a:extLst>
            </p:cNvPr>
            <p:cNvSpPr/>
            <p:nvPr/>
          </p:nvSpPr>
          <p:spPr>
            <a:xfrm>
              <a:off x="9933511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4" name="Freeform: Shape 713">
              <a:extLst>
                <a:ext uri="{FF2B5EF4-FFF2-40B4-BE49-F238E27FC236}">
                  <a16:creationId xmlns:a16="http://schemas.microsoft.com/office/drawing/2014/main" id="{11A43DAF-68AB-2428-6679-40281F893655}"/>
                </a:ext>
              </a:extLst>
            </p:cNvPr>
            <p:cNvSpPr/>
            <p:nvPr/>
          </p:nvSpPr>
          <p:spPr>
            <a:xfrm>
              <a:off x="9989518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5" name="Freeform: Shape 714">
              <a:extLst>
                <a:ext uri="{FF2B5EF4-FFF2-40B4-BE49-F238E27FC236}">
                  <a16:creationId xmlns:a16="http://schemas.microsoft.com/office/drawing/2014/main" id="{A45D52FD-20D2-DF3B-4418-085429E54862}"/>
                </a:ext>
              </a:extLst>
            </p:cNvPr>
            <p:cNvSpPr/>
            <p:nvPr/>
          </p:nvSpPr>
          <p:spPr>
            <a:xfrm>
              <a:off x="9933511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6" name="Freeform: Shape 715">
              <a:extLst>
                <a:ext uri="{FF2B5EF4-FFF2-40B4-BE49-F238E27FC236}">
                  <a16:creationId xmlns:a16="http://schemas.microsoft.com/office/drawing/2014/main" id="{AD7691ED-AE0E-3BD2-55F8-457606EA6B7A}"/>
                </a:ext>
              </a:extLst>
            </p:cNvPr>
            <p:cNvSpPr/>
            <p:nvPr/>
          </p:nvSpPr>
          <p:spPr>
            <a:xfrm>
              <a:off x="9989518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7" name="Freeform: Shape 716">
              <a:extLst>
                <a:ext uri="{FF2B5EF4-FFF2-40B4-BE49-F238E27FC236}">
                  <a16:creationId xmlns:a16="http://schemas.microsoft.com/office/drawing/2014/main" id="{0C26D97A-4E83-C59E-B559-F15FA22B225B}"/>
                </a:ext>
              </a:extLst>
            </p:cNvPr>
            <p:cNvSpPr/>
            <p:nvPr/>
          </p:nvSpPr>
          <p:spPr>
            <a:xfrm>
              <a:off x="10045525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8" name="Freeform: Shape 717">
              <a:extLst>
                <a:ext uri="{FF2B5EF4-FFF2-40B4-BE49-F238E27FC236}">
                  <a16:creationId xmlns:a16="http://schemas.microsoft.com/office/drawing/2014/main" id="{A20A3538-5A58-40F1-4B55-223EBB89809D}"/>
                </a:ext>
              </a:extLst>
            </p:cNvPr>
            <p:cNvSpPr/>
            <p:nvPr/>
          </p:nvSpPr>
          <p:spPr>
            <a:xfrm>
              <a:off x="10101532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9" name="Freeform: Shape 718">
              <a:extLst>
                <a:ext uri="{FF2B5EF4-FFF2-40B4-BE49-F238E27FC236}">
                  <a16:creationId xmlns:a16="http://schemas.microsoft.com/office/drawing/2014/main" id="{7CB5F601-12C6-2AAE-9486-9FFCCFCC0885}"/>
                </a:ext>
              </a:extLst>
            </p:cNvPr>
            <p:cNvSpPr/>
            <p:nvPr/>
          </p:nvSpPr>
          <p:spPr>
            <a:xfrm>
              <a:off x="10056955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0" name="Freeform: Shape 719">
              <a:extLst>
                <a:ext uri="{FF2B5EF4-FFF2-40B4-BE49-F238E27FC236}">
                  <a16:creationId xmlns:a16="http://schemas.microsoft.com/office/drawing/2014/main" id="{5FA4AF49-97BC-D46F-7ADF-CAD2C3022716}"/>
                </a:ext>
              </a:extLst>
            </p:cNvPr>
            <p:cNvSpPr/>
            <p:nvPr/>
          </p:nvSpPr>
          <p:spPr>
            <a:xfrm>
              <a:off x="10112962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1" name="Freeform: Shape 720">
              <a:extLst>
                <a:ext uri="{FF2B5EF4-FFF2-40B4-BE49-F238E27FC236}">
                  <a16:creationId xmlns:a16="http://schemas.microsoft.com/office/drawing/2014/main" id="{0D2F2C35-4035-4139-5FE8-242216BD2BB7}"/>
                </a:ext>
              </a:extLst>
            </p:cNvPr>
            <p:cNvSpPr/>
            <p:nvPr/>
          </p:nvSpPr>
          <p:spPr>
            <a:xfrm>
              <a:off x="10163254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2" name="Freeform: Shape 721">
              <a:extLst>
                <a:ext uri="{FF2B5EF4-FFF2-40B4-BE49-F238E27FC236}">
                  <a16:creationId xmlns:a16="http://schemas.microsoft.com/office/drawing/2014/main" id="{E554762D-1DFE-1094-89CE-EFAFA82D746C}"/>
                </a:ext>
              </a:extLst>
            </p:cNvPr>
            <p:cNvSpPr/>
            <p:nvPr/>
          </p:nvSpPr>
          <p:spPr>
            <a:xfrm>
              <a:off x="10219261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3" name="Freeform: Shape 722">
              <a:extLst>
                <a:ext uri="{FF2B5EF4-FFF2-40B4-BE49-F238E27FC236}">
                  <a16:creationId xmlns:a16="http://schemas.microsoft.com/office/drawing/2014/main" id="{6C89C093-F6BB-E7E3-5BC5-4C13378B7DAF}"/>
                </a:ext>
              </a:extLst>
            </p:cNvPr>
            <p:cNvSpPr/>
            <p:nvPr/>
          </p:nvSpPr>
          <p:spPr>
            <a:xfrm>
              <a:off x="10280983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4" name="Freeform: Shape 723">
              <a:extLst>
                <a:ext uri="{FF2B5EF4-FFF2-40B4-BE49-F238E27FC236}">
                  <a16:creationId xmlns:a16="http://schemas.microsoft.com/office/drawing/2014/main" id="{1BACD4E8-23F9-7973-E82A-B070429C0BE1}"/>
                </a:ext>
              </a:extLst>
            </p:cNvPr>
            <p:cNvSpPr/>
            <p:nvPr/>
          </p:nvSpPr>
          <p:spPr>
            <a:xfrm>
              <a:off x="10336990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5" name="Freeform: Shape 724">
              <a:extLst>
                <a:ext uri="{FF2B5EF4-FFF2-40B4-BE49-F238E27FC236}">
                  <a16:creationId xmlns:a16="http://schemas.microsoft.com/office/drawing/2014/main" id="{1A28F879-AF3B-67DB-A9B6-810B3BEDB725}"/>
                </a:ext>
              </a:extLst>
            </p:cNvPr>
            <p:cNvSpPr/>
            <p:nvPr/>
          </p:nvSpPr>
          <p:spPr>
            <a:xfrm>
              <a:off x="10299271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6" name="Freeform: Shape 725">
              <a:extLst>
                <a:ext uri="{FF2B5EF4-FFF2-40B4-BE49-F238E27FC236}">
                  <a16:creationId xmlns:a16="http://schemas.microsoft.com/office/drawing/2014/main" id="{55616A8D-3A9C-BBA3-93B0-4DC371D3FE08}"/>
                </a:ext>
              </a:extLst>
            </p:cNvPr>
            <p:cNvSpPr/>
            <p:nvPr/>
          </p:nvSpPr>
          <p:spPr>
            <a:xfrm>
              <a:off x="10355278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7" name="Freeform: Shape 726">
              <a:extLst>
                <a:ext uri="{FF2B5EF4-FFF2-40B4-BE49-F238E27FC236}">
                  <a16:creationId xmlns:a16="http://schemas.microsoft.com/office/drawing/2014/main" id="{1F35E3F9-0849-40D1-0D22-FE0F7C50BE8C}"/>
                </a:ext>
              </a:extLst>
            </p:cNvPr>
            <p:cNvSpPr/>
            <p:nvPr/>
          </p:nvSpPr>
          <p:spPr>
            <a:xfrm>
              <a:off x="10310701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8" name="Freeform: Shape 727">
              <a:extLst>
                <a:ext uri="{FF2B5EF4-FFF2-40B4-BE49-F238E27FC236}">
                  <a16:creationId xmlns:a16="http://schemas.microsoft.com/office/drawing/2014/main" id="{F12B172D-B36D-BE09-0856-FED6F0DDFFDF}"/>
                </a:ext>
              </a:extLst>
            </p:cNvPr>
            <p:cNvSpPr/>
            <p:nvPr/>
          </p:nvSpPr>
          <p:spPr>
            <a:xfrm>
              <a:off x="10366708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9" name="Freeform: Shape 728">
              <a:extLst>
                <a:ext uri="{FF2B5EF4-FFF2-40B4-BE49-F238E27FC236}">
                  <a16:creationId xmlns:a16="http://schemas.microsoft.com/office/drawing/2014/main" id="{CB97ED21-CC99-F416-C60C-F303E039FF1D}"/>
                </a:ext>
              </a:extLst>
            </p:cNvPr>
            <p:cNvSpPr/>
            <p:nvPr/>
          </p:nvSpPr>
          <p:spPr>
            <a:xfrm>
              <a:off x="10405570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0" name="Freeform: Shape 729">
              <a:extLst>
                <a:ext uri="{FF2B5EF4-FFF2-40B4-BE49-F238E27FC236}">
                  <a16:creationId xmlns:a16="http://schemas.microsoft.com/office/drawing/2014/main" id="{6C30253C-1936-F394-C33A-8BD564534CB0}"/>
                </a:ext>
              </a:extLst>
            </p:cNvPr>
            <p:cNvSpPr/>
            <p:nvPr/>
          </p:nvSpPr>
          <p:spPr>
            <a:xfrm>
              <a:off x="10461577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1" name="Freeform: Shape 730">
              <a:extLst>
                <a:ext uri="{FF2B5EF4-FFF2-40B4-BE49-F238E27FC236}">
                  <a16:creationId xmlns:a16="http://schemas.microsoft.com/office/drawing/2014/main" id="{9DD32A2E-38C0-16E4-7C79-9003A871EF10}"/>
                </a:ext>
              </a:extLst>
            </p:cNvPr>
            <p:cNvSpPr/>
            <p:nvPr/>
          </p:nvSpPr>
          <p:spPr>
            <a:xfrm>
              <a:off x="10417000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2" name="Freeform: Shape 731">
              <a:extLst>
                <a:ext uri="{FF2B5EF4-FFF2-40B4-BE49-F238E27FC236}">
                  <a16:creationId xmlns:a16="http://schemas.microsoft.com/office/drawing/2014/main" id="{CC89DDB9-97B4-3967-870A-8051E9F448CA}"/>
                </a:ext>
              </a:extLst>
            </p:cNvPr>
            <p:cNvSpPr/>
            <p:nvPr/>
          </p:nvSpPr>
          <p:spPr>
            <a:xfrm>
              <a:off x="10473007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3" name="Freeform: Shape 732">
              <a:extLst>
                <a:ext uri="{FF2B5EF4-FFF2-40B4-BE49-F238E27FC236}">
                  <a16:creationId xmlns:a16="http://schemas.microsoft.com/office/drawing/2014/main" id="{B96565AC-32AC-C9F3-B7D7-C12FA2E17004}"/>
                </a:ext>
              </a:extLst>
            </p:cNvPr>
            <p:cNvSpPr/>
            <p:nvPr/>
          </p:nvSpPr>
          <p:spPr>
            <a:xfrm>
              <a:off x="10547302" y="-8963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4" name="Freeform: Shape 733">
              <a:extLst>
                <a:ext uri="{FF2B5EF4-FFF2-40B4-BE49-F238E27FC236}">
                  <a16:creationId xmlns:a16="http://schemas.microsoft.com/office/drawing/2014/main" id="{5DC07444-E3B1-FFD1-80F7-706174801842}"/>
                </a:ext>
              </a:extLst>
            </p:cNvPr>
            <p:cNvSpPr/>
            <p:nvPr/>
          </p:nvSpPr>
          <p:spPr>
            <a:xfrm>
              <a:off x="10603309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5" name="Freeform: Shape 734">
              <a:extLst>
                <a:ext uri="{FF2B5EF4-FFF2-40B4-BE49-F238E27FC236}">
                  <a16:creationId xmlns:a16="http://schemas.microsoft.com/office/drawing/2014/main" id="{7410FD5A-E2F3-2F22-F014-6D9478820FBC}"/>
                </a:ext>
              </a:extLst>
            </p:cNvPr>
            <p:cNvSpPr/>
            <p:nvPr/>
          </p:nvSpPr>
          <p:spPr>
            <a:xfrm>
              <a:off x="10612453" y="-8963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6" name="Freeform: Shape 735">
              <a:extLst>
                <a:ext uri="{FF2B5EF4-FFF2-40B4-BE49-F238E27FC236}">
                  <a16:creationId xmlns:a16="http://schemas.microsoft.com/office/drawing/2014/main" id="{C875CF2B-0F2B-23B3-55C5-DB87B639772A}"/>
                </a:ext>
              </a:extLst>
            </p:cNvPr>
            <p:cNvSpPr/>
            <p:nvPr/>
          </p:nvSpPr>
          <p:spPr>
            <a:xfrm>
              <a:off x="10668460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7" name="Freeform: Shape 736">
              <a:extLst>
                <a:ext uri="{FF2B5EF4-FFF2-40B4-BE49-F238E27FC236}">
                  <a16:creationId xmlns:a16="http://schemas.microsoft.com/office/drawing/2014/main" id="{0F3E6CA2-4AC2-1979-5C50-2C6BC06F40E9}"/>
                </a:ext>
              </a:extLst>
            </p:cNvPr>
            <p:cNvSpPr/>
            <p:nvPr/>
          </p:nvSpPr>
          <p:spPr>
            <a:xfrm>
              <a:off x="10741612" y="-8963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8" name="Freeform: Shape 737">
              <a:extLst>
                <a:ext uri="{FF2B5EF4-FFF2-40B4-BE49-F238E27FC236}">
                  <a16:creationId xmlns:a16="http://schemas.microsoft.com/office/drawing/2014/main" id="{4F9EB28D-89F4-EAD7-3B22-40499AAB07AF}"/>
                </a:ext>
              </a:extLst>
            </p:cNvPr>
            <p:cNvSpPr/>
            <p:nvPr/>
          </p:nvSpPr>
          <p:spPr>
            <a:xfrm>
              <a:off x="10797619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9" name="Freeform: Shape 738">
              <a:extLst>
                <a:ext uri="{FF2B5EF4-FFF2-40B4-BE49-F238E27FC236}">
                  <a16:creationId xmlns:a16="http://schemas.microsoft.com/office/drawing/2014/main" id="{915A2CD8-4099-477C-1C69-07132979E9E9}"/>
                </a:ext>
              </a:extLst>
            </p:cNvPr>
            <p:cNvSpPr/>
            <p:nvPr/>
          </p:nvSpPr>
          <p:spPr>
            <a:xfrm>
              <a:off x="11457130" y="-896308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700" name="Freeform: Shape 739">
              <a:extLst>
                <a:ext uri="{FF2B5EF4-FFF2-40B4-BE49-F238E27FC236}">
                  <a16:creationId xmlns:a16="http://schemas.microsoft.com/office/drawing/2014/main" id="{B8B7893A-AFC9-8A46-4E58-66EC70563853}"/>
                </a:ext>
              </a:extLst>
            </p:cNvPr>
            <p:cNvSpPr/>
            <p:nvPr/>
          </p:nvSpPr>
          <p:spPr>
            <a:xfrm>
              <a:off x="11511994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701" name="Freeform: Shape 740">
              <a:extLst>
                <a:ext uri="{FF2B5EF4-FFF2-40B4-BE49-F238E27FC236}">
                  <a16:creationId xmlns:a16="http://schemas.microsoft.com/office/drawing/2014/main" id="{894D6449-7ED8-A1A5-9AFD-64E82ECE862F}"/>
                </a:ext>
              </a:extLst>
            </p:cNvPr>
            <p:cNvSpPr/>
            <p:nvPr/>
          </p:nvSpPr>
          <p:spPr>
            <a:xfrm>
              <a:off x="4458541" y="-240049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702" name="Freeform: Shape 741">
              <a:extLst>
                <a:ext uri="{FF2B5EF4-FFF2-40B4-BE49-F238E27FC236}">
                  <a16:creationId xmlns:a16="http://schemas.microsoft.com/office/drawing/2014/main" id="{8EF4251B-AA84-DEDF-84D3-BEAB9C793E89}"/>
                </a:ext>
              </a:extLst>
            </p:cNvPr>
            <p:cNvSpPr/>
            <p:nvPr/>
          </p:nvSpPr>
          <p:spPr>
            <a:xfrm>
              <a:off x="4514548" y="-243478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</p:grpSp>
      <p:sp>
        <p:nvSpPr>
          <p:cNvPr id="703" name="Rectangle 2">
            <a:extLst>
              <a:ext uri="{FF2B5EF4-FFF2-40B4-BE49-F238E27FC236}">
                <a16:creationId xmlns:a16="http://schemas.microsoft.com/office/drawing/2014/main" id="{714483CC-8420-5D97-CB85-D82F10880E27}"/>
              </a:ext>
            </a:extLst>
          </p:cNvPr>
          <p:cNvSpPr/>
          <p:nvPr/>
        </p:nvSpPr>
        <p:spPr bwMode="auto">
          <a:xfrm>
            <a:off x="9888581" y="3451165"/>
            <a:ext cx="894636" cy="344128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18000" rIns="36000" bIns="1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edian PFS 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6.6 months</a:t>
            </a:r>
          </a:p>
        </p:txBody>
      </p:sp>
      <p:sp>
        <p:nvSpPr>
          <p:cNvPr id="704" name="Rectangle 38">
            <a:extLst>
              <a:ext uri="{FF2B5EF4-FFF2-40B4-BE49-F238E27FC236}">
                <a16:creationId xmlns:a16="http://schemas.microsoft.com/office/drawing/2014/main" id="{A5613D2B-36BB-6A51-3B2D-18EC5DAF3465}"/>
              </a:ext>
            </a:extLst>
          </p:cNvPr>
          <p:cNvSpPr/>
          <p:nvPr/>
        </p:nvSpPr>
        <p:spPr bwMode="auto">
          <a:xfrm>
            <a:off x="4398894" y="3644513"/>
            <a:ext cx="864029" cy="344128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18000" rIns="36000" bIns="1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edian PFS</a:t>
            </a:r>
            <a:b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3.4 months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A694230F-E58E-E079-0186-B8CBDFFEBE9C}"/>
              </a:ext>
            </a:extLst>
          </p:cNvPr>
          <p:cNvSpPr txBox="1"/>
          <p:nvPr/>
        </p:nvSpPr>
        <p:spPr>
          <a:xfrm>
            <a:off x="8123275" y="6626310"/>
            <a:ext cx="4662758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>
              <a:spcBef>
                <a:spcPts val="45"/>
              </a:spcBef>
              <a:defRPr/>
            </a:pPr>
            <a:r>
              <a:rPr kumimoji="0" lang="en-US" sz="1000" b="0" i="0" u="none" strike="noStrike" kern="120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Hungria V, et al. ASH 2024. Abstracts 772 ;</a:t>
            </a:r>
            <a:r>
              <a:rPr lang="en-US" sz="1000" dirty="0"/>
              <a:t>Mateos</a:t>
            </a:r>
            <a:r>
              <a:rPr lang="en-US" sz="1000" dirty="0">
                <a:solidFill>
                  <a:prstClr val="black"/>
                </a:solidFill>
                <a:latin typeface="Calibri" panose="020F0502020204030204"/>
              </a:rPr>
              <a:t> ASCO 2024; Abstract 7503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9319982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984" y="94254"/>
            <a:ext cx="11572291" cy="1042593"/>
          </a:xfrm>
          <a:prstGeom prst="rect">
            <a:avLst/>
          </a:prstGeom>
        </p:spPr>
        <p:txBody>
          <a:bodyPr vert="horz" wrap="square" lIns="0" tIns="5715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450"/>
              </a:spcBef>
            </a:pPr>
            <a:r>
              <a:rPr sz="3200" dirty="0">
                <a:solidFill>
                  <a:srgbClr val="C00000"/>
                </a:solidFill>
              </a:rPr>
              <a:t>Updated</a:t>
            </a:r>
            <a:r>
              <a:rPr sz="3200" spc="-7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and Additional</a:t>
            </a:r>
            <a:r>
              <a:rPr sz="3200" spc="-4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Analyses</a:t>
            </a:r>
            <a:r>
              <a:rPr sz="3200" spc="-8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From</a:t>
            </a:r>
            <a:r>
              <a:rPr sz="3200" spc="-4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the</a:t>
            </a:r>
            <a:r>
              <a:rPr sz="3200" spc="-3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Phase</a:t>
            </a:r>
            <a:r>
              <a:rPr sz="3200" spc="-3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3</a:t>
            </a:r>
            <a:r>
              <a:rPr sz="3200" spc="-45" dirty="0">
                <a:solidFill>
                  <a:srgbClr val="C00000"/>
                </a:solidFill>
              </a:rPr>
              <a:t> </a:t>
            </a:r>
            <a:r>
              <a:rPr sz="3200" spc="-20" dirty="0">
                <a:solidFill>
                  <a:srgbClr val="C00000"/>
                </a:solidFill>
              </a:rPr>
              <a:t>DREAMM-</a:t>
            </a:r>
            <a:r>
              <a:rPr sz="3200" dirty="0">
                <a:solidFill>
                  <a:srgbClr val="C00000"/>
                </a:solidFill>
              </a:rPr>
              <a:t>7</a:t>
            </a:r>
            <a:r>
              <a:rPr sz="3200" spc="-50" dirty="0">
                <a:solidFill>
                  <a:srgbClr val="C00000"/>
                </a:solidFill>
              </a:rPr>
              <a:t> </a:t>
            </a:r>
            <a:r>
              <a:rPr sz="3200" spc="-10" dirty="0">
                <a:solidFill>
                  <a:srgbClr val="C00000"/>
                </a:solidFill>
              </a:rPr>
              <a:t>Trial</a:t>
            </a:r>
            <a:r>
              <a:rPr sz="3200" spc="-4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of</a:t>
            </a:r>
            <a:r>
              <a:rPr sz="3200" spc="-1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BVd</a:t>
            </a:r>
            <a:r>
              <a:rPr sz="3200" spc="-75" dirty="0">
                <a:solidFill>
                  <a:srgbClr val="C00000"/>
                </a:solidFill>
              </a:rPr>
              <a:t> </a:t>
            </a:r>
            <a:r>
              <a:rPr sz="3200" spc="-25" dirty="0">
                <a:solidFill>
                  <a:srgbClr val="C00000"/>
                </a:solidFill>
              </a:rPr>
              <a:t>vs </a:t>
            </a:r>
            <a:r>
              <a:rPr sz="3200" dirty="0">
                <a:solidFill>
                  <a:srgbClr val="C00000"/>
                </a:solidFill>
              </a:rPr>
              <a:t>DVd</a:t>
            </a:r>
            <a:r>
              <a:rPr sz="3200" spc="-9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in</a:t>
            </a:r>
            <a:r>
              <a:rPr sz="3200" spc="-3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RRMM:</a:t>
            </a:r>
            <a:r>
              <a:rPr sz="3200" spc="-65" dirty="0">
                <a:solidFill>
                  <a:srgbClr val="C00000"/>
                </a:solidFill>
              </a:rPr>
              <a:t> </a:t>
            </a:r>
            <a:r>
              <a:rPr sz="3200" spc="-25" dirty="0">
                <a:solidFill>
                  <a:srgbClr val="C00000"/>
                </a:solidFill>
              </a:rPr>
              <a:t>O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73775" y="1267867"/>
            <a:ext cx="4007751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edian</a:t>
            </a:r>
            <a:r>
              <a:rPr kumimoji="0" sz="1400" b="1" i="0" u="none" strike="noStrike" kern="1200" cap="none" spc="1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follow-up:</a:t>
            </a:r>
            <a:r>
              <a:rPr kumimoji="0" sz="1400" b="1" i="0" u="none" strike="noStrike" kern="1200" cap="none" spc="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39.4</a:t>
            </a:r>
            <a:r>
              <a:rPr kumimoji="0" sz="1400" b="1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nths</a:t>
            </a:r>
            <a:r>
              <a:rPr kumimoji="0" sz="1400" b="1" i="0" u="none" strike="noStrike" kern="1200" cap="none" spc="8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(range,</a:t>
            </a:r>
            <a:r>
              <a:rPr kumimoji="0" sz="1400" b="1" i="0" u="none" strike="noStrike" kern="1200" cap="none" spc="17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0.1-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52.3)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934325" y="4741343"/>
            <a:ext cx="3790950" cy="740203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50165" rIns="0" bIns="0" rtlCol="0">
            <a:spAutoFit/>
          </a:bodyPr>
          <a:lstStyle/>
          <a:p>
            <a:pPr marL="99695" marR="0" lvl="0" indent="0" algn="l" defTabSz="914400" rtl="0" eaLnBrk="1" fontAlgn="auto" latinLnBrk="0" hangingPunct="1">
              <a:lnSpc>
                <a:spcPct val="10000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edian</a:t>
            </a:r>
            <a:r>
              <a:rPr kumimoji="0" sz="1400" b="1" i="0" u="none" strike="noStrike" kern="1200" cap="none" spc="-1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OS</a:t>
            </a:r>
            <a:r>
              <a:rPr kumimoji="0" sz="1400" b="1" i="0" u="none" strike="noStrike" kern="1200" cap="none" spc="-3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was</a:t>
            </a:r>
            <a:r>
              <a:rPr kumimoji="0" sz="1400" b="1" i="0" u="none" strike="noStrike" kern="1200" cap="none" spc="-4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not</a:t>
            </a:r>
            <a:r>
              <a:rPr kumimoji="0" sz="1400" b="1" i="0" u="none" strike="noStrike" kern="1200" cap="none" spc="2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reached.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  <a:p>
            <a:pPr marL="99695" marR="0" lvl="0" indent="0" algn="l" defTabSz="914400" rtl="0" eaLnBrk="1" fontAlgn="auto" latinLnBrk="0" hangingPunct="1">
              <a:lnSpc>
                <a:spcPts val="1664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Predicted</a:t>
            </a:r>
            <a:r>
              <a:rPr kumimoji="0" sz="1400" b="1" i="0" u="none" strike="noStrike" kern="1200" cap="none" spc="-8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edian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OS</a:t>
            </a:r>
            <a:r>
              <a:rPr kumimoji="0" sz="1400" b="1" i="0" u="none" strike="noStrike" kern="1200" cap="none" spc="-5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based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on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deling</a:t>
            </a:r>
            <a:r>
              <a:rPr kumimoji="0" sz="1400" b="1" i="0" u="none" strike="noStrike" kern="1200" cap="none" spc="-1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is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  <a:p>
            <a:pPr marL="99695" marR="0" lvl="0" indent="0" algn="l" defTabSz="914400" rtl="0" eaLnBrk="1" fontAlgn="auto" latinLnBrk="0" hangingPunct="1">
              <a:lnSpc>
                <a:spcPts val="16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84</a:t>
            </a:r>
            <a:r>
              <a:rPr kumimoji="0" sz="1400" b="1" i="0" u="none" strike="noStrike" kern="1200" cap="none" spc="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nths</a:t>
            </a:r>
            <a:r>
              <a:rPr kumimoji="0" sz="1400" b="1" i="0" u="none" strike="noStrike" kern="1200" cap="none" spc="-4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with</a:t>
            </a:r>
            <a:r>
              <a:rPr kumimoji="0" sz="1400" b="1" i="0" u="none" strike="noStrike" kern="1200" cap="none" spc="-7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BVd</a:t>
            </a:r>
            <a:r>
              <a:rPr kumimoji="0" sz="1400" b="1" i="0" u="none" strike="noStrike" kern="1200" cap="none" spc="-7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and</a:t>
            </a:r>
            <a:r>
              <a:rPr kumimoji="0" sz="1400" b="1" i="0" u="none" strike="noStrike" kern="1200" cap="none" spc="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51</a:t>
            </a:r>
            <a:r>
              <a:rPr kumimoji="0" sz="1400" b="1" i="0" u="none" strike="noStrike" kern="1200" cap="none" spc="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nths</a:t>
            </a:r>
            <a:r>
              <a:rPr kumimoji="0" sz="1400" b="1" i="0" u="none" strike="noStrike" kern="1200" cap="none" spc="-4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with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DVd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7930260" y="2165020"/>
          <a:ext cx="3787774" cy="23507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23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2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9554">
                <a:tc>
                  <a:txBody>
                    <a:bodyPr/>
                    <a:lstStyle/>
                    <a:p>
                      <a:pPr marL="3302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spc="-25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OS</a:t>
                      </a:r>
                      <a:endParaRPr sz="14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4604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0091B6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BVd</a:t>
                      </a:r>
                      <a:r>
                        <a:rPr sz="1400" spc="-35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(n=243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4604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30968B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DVd</a:t>
                      </a:r>
                      <a:r>
                        <a:rPr sz="1400" spc="-4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(n=251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4604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554">
                <a:tc>
                  <a:txBody>
                    <a:bodyPr/>
                    <a:lstStyle/>
                    <a:p>
                      <a:pPr marL="3302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Events, n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%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8</a:t>
                      </a:r>
                      <a:r>
                        <a:rPr sz="1400" spc="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28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103</a:t>
                      </a:r>
                      <a:r>
                        <a:rPr sz="1400" spc="-7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41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edian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OS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  <a:p>
                      <a:pPr marL="33020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CI),</a:t>
                      </a:r>
                      <a:r>
                        <a:rPr sz="1400" spc="-3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onths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  <a:spcBef>
                          <a:spcPts val="96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</a:t>
                      </a:r>
                      <a:r>
                        <a:rPr sz="1400" spc="4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NR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1920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ct val="100000"/>
                        </a:lnSpc>
                        <a:spcBef>
                          <a:spcPts val="96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</a:t>
                      </a:r>
                      <a:r>
                        <a:rPr sz="1400" spc="6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41.0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1920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125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HR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CI);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  <a:p>
                      <a:pPr marL="3302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sz="1400" i="1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P</a:t>
                      </a:r>
                      <a:r>
                        <a:rPr sz="1400" i="1" spc="-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value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875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97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0.58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0.43-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0.79);</a:t>
                      </a:r>
                      <a:r>
                        <a:rPr sz="1400" spc="3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i="1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P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=0.00023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190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33020" marR="167640" indent="9525">
                        <a:lnSpc>
                          <a:spcPct val="102899"/>
                        </a:lnSpc>
                        <a:spcBef>
                          <a:spcPts val="80"/>
                        </a:spcBef>
                      </a:pP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24-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onth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OS, 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%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</a:t>
                      </a:r>
                      <a:r>
                        <a:rPr sz="1400" spc="-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CI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016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969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9</a:t>
                      </a:r>
                      <a:r>
                        <a:rPr sz="1400" spc="4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73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84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189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" algn="ctr">
                        <a:lnSpc>
                          <a:spcPct val="100000"/>
                        </a:lnSpc>
                        <a:spcBef>
                          <a:spcPts val="969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7</a:t>
                      </a:r>
                      <a:r>
                        <a:rPr sz="1400" spc="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61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3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189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33020" marR="159385" indent="9525">
                        <a:lnSpc>
                          <a:spcPct val="102800"/>
                        </a:lnSpc>
                        <a:spcBef>
                          <a:spcPts val="90"/>
                        </a:spcBef>
                      </a:pP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36-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onth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OS,</a:t>
                      </a:r>
                      <a:r>
                        <a:rPr sz="1400" spc="-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%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CI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143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4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68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9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825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0</a:t>
                      </a:r>
                      <a:r>
                        <a:rPr sz="1400" spc="4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54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6)</a:t>
                      </a:r>
                      <a:endParaRPr sz="14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825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" name="object 6"/>
          <p:cNvPicPr/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3966" y="2292415"/>
            <a:ext cx="7162800" cy="3581400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9314815" y="6683916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Hungria V, et al. ASH 2024.</a:t>
            </a:r>
            <a:r>
              <a:rPr kumimoji="0" lang="en-US" sz="1000" b="0" i="0" u="none" strike="noStrike" kern="120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000" b="0" i="0" u="none" strike="noStrike" kern="1200" cap="none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Abstracts 772 and 3359.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8BE61B-6633-5710-9242-67F89F5D5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8881F7E-8BD0-197D-2B2A-37525101E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110" y="164690"/>
            <a:ext cx="10583862" cy="722311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REAMM-9: Study design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01C4A4D4-B003-78F7-5AF3-78A8A5B85199}"/>
              </a:ext>
            </a:extLst>
          </p:cNvPr>
          <p:cNvSpPr txBox="1"/>
          <p:nvPr/>
        </p:nvSpPr>
        <p:spPr>
          <a:xfrm>
            <a:off x="9435934" y="1376944"/>
            <a:ext cx="2260766" cy="4321636"/>
          </a:xfrm>
          <a:prstGeom prst="roundRect">
            <a:avLst>
              <a:gd name="adj" fmla="val 8744"/>
            </a:avLst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91440" rIns="91440" anchor="ctr">
            <a:noAutofit/>
          </a:bodyPr>
          <a:lstStyle/>
          <a:p>
            <a:pPr marL="176213" marR="0" lvl="0" indent="-17621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horts with lower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s and longer schedules were opened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ssess the potential to improve tolerability while maintaining efficacy</a:t>
            </a:r>
          </a:p>
          <a:p>
            <a:pPr marL="176213" marR="0" lvl="0" indent="-17621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cohorts receiv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R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Cycles 1‒8 (21-day cycle), followed by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Rd for Cycles 9+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8-day cycle)</a:t>
            </a:r>
          </a:p>
          <a:p>
            <a:pPr marL="176213" marR="0" lvl="0" indent="-17621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ular event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e managed by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 modification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 extending the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ing interval</a:t>
            </a: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7E167F6C-554A-A9A9-9BD4-66A35DCBB51E}"/>
              </a:ext>
            </a:extLst>
          </p:cNvPr>
          <p:cNvSpPr/>
          <p:nvPr/>
        </p:nvSpPr>
        <p:spPr>
          <a:xfrm>
            <a:off x="502195" y="1089025"/>
            <a:ext cx="1945567" cy="4609556"/>
          </a:xfrm>
          <a:prstGeom prst="roundRect">
            <a:avLst>
              <a:gd name="adj" fmla="val 8098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</a:ln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tIns="63665" bIns="63665" rtlCol="0" anchor="ctr">
            <a:normAutofit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959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Vertical Text Placeholder 2">
            <a:extLst>
              <a:ext uri="{FF2B5EF4-FFF2-40B4-BE49-F238E27FC236}">
                <a16:creationId xmlns:a16="http://schemas.microsoft.com/office/drawing/2014/main" id="{1DD7EE29-16CD-C288-8658-547B9623BA27}"/>
              </a:ext>
            </a:extLst>
          </p:cNvPr>
          <p:cNvSpPr txBox="1">
            <a:spLocks/>
          </p:cNvSpPr>
          <p:nvPr/>
        </p:nvSpPr>
        <p:spPr>
          <a:xfrm>
            <a:off x="499242" y="1425478"/>
            <a:ext cx="1950427" cy="3082102"/>
          </a:xfrm>
          <a:prstGeom prst="rect">
            <a:avLst/>
          </a:prstGeom>
          <a:noFill/>
        </p:spPr>
        <p:txBody>
          <a:bodyPr vert="horz" lIns="91440" tIns="91440" rIns="91440" bIns="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M diagnosis per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IMWG criteria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COG performance status of 0–2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Not a candidate for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HDT with ASCT due to frailty and/or significant comorbid condition(s)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easurable disease per IMWG criteria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Prior systemic therapy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for MM or SMM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Current corneal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pithelial diseas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76F861F1-BFEB-322D-CAA6-A08A9563FF20}"/>
              </a:ext>
            </a:extLst>
          </p:cNvPr>
          <p:cNvSpPr/>
          <p:nvPr/>
        </p:nvSpPr>
        <p:spPr>
          <a:xfrm>
            <a:off x="2535338" y="1097161"/>
            <a:ext cx="4799724" cy="4601420"/>
          </a:xfrm>
          <a:prstGeom prst="roundRect">
            <a:avLst>
              <a:gd name="adj" fmla="val 3533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</a:ln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tIns="63665" bIns="63665" rtlCol="0" anchor="ctr">
            <a:normAutofit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13" b="0" i="0" u="none" strike="noStrike" kern="0" cap="none" spc="0" normalizeH="0" baseline="0" noProof="0">
              <a:ln>
                <a:noFill/>
              </a:ln>
              <a:solidFill>
                <a:srgbClr val="959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Rectangle: Rounded Corners 34">
            <a:extLst>
              <a:ext uri="{FF2B5EF4-FFF2-40B4-BE49-F238E27FC236}">
                <a16:creationId xmlns:a16="http://schemas.microsoft.com/office/drawing/2014/main" id="{8EF5FDE6-1485-1FB9-7A0E-0F6E19EAD001}"/>
              </a:ext>
            </a:extLst>
          </p:cNvPr>
          <p:cNvSpPr/>
          <p:nvPr/>
        </p:nvSpPr>
        <p:spPr>
          <a:xfrm>
            <a:off x="6488406" y="5421406"/>
            <a:ext cx="815284" cy="2201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1" i="0" u="none" strike="noStrike" kern="0" cap="none" spc="0" normalizeH="0" baseline="0" noProof="0">
                <a:ln>
                  <a:noFill/>
                </a:ln>
                <a:solidFill>
                  <a:srgbClr val="244EA2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70-day safety </a:t>
            </a:r>
            <a:r>
              <a:rPr kumimoji="0" lang="en-NZ" sz="800" b="0" i="0" u="none" strike="noStrike" kern="0" cap="none" spc="0" normalizeH="0" baseline="0" noProof="0">
                <a:ln>
                  <a:noFill/>
                </a:ln>
                <a:solidFill>
                  <a:srgbClr val="244EA2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follow-up visit</a:t>
            </a:r>
            <a:endParaRPr kumimoji="0" lang="en-US" sz="800" b="0" i="0" u="none" strike="noStrike" kern="0" cap="none" spc="0" normalizeH="0" baseline="30000" noProof="0">
              <a:ln>
                <a:noFill/>
              </a:ln>
              <a:solidFill>
                <a:srgbClr val="244EA2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6" name="Right Brace 175">
            <a:extLst>
              <a:ext uri="{FF2B5EF4-FFF2-40B4-BE49-F238E27FC236}">
                <a16:creationId xmlns:a16="http://schemas.microsoft.com/office/drawing/2014/main" id="{EC828ABD-E429-3F45-A526-9446BBBCE7F1}"/>
              </a:ext>
            </a:extLst>
          </p:cNvPr>
          <p:cNvSpPr/>
          <p:nvPr/>
        </p:nvSpPr>
        <p:spPr>
          <a:xfrm rot="5400000">
            <a:off x="2859085" y="5027311"/>
            <a:ext cx="92569" cy="591526"/>
          </a:xfrm>
          <a:prstGeom prst="rightBrac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7" name="Right Brace 176">
            <a:extLst>
              <a:ext uri="{FF2B5EF4-FFF2-40B4-BE49-F238E27FC236}">
                <a16:creationId xmlns:a16="http://schemas.microsoft.com/office/drawing/2014/main" id="{44D408CC-4A02-D677-9223-1FEF2B381F12}"/>
              </a:ext>
            </a:extLst>
          </p:cNvPr>
          <p:cNvSpPr/>
          <p:nvPr/>
        </p:nvSpPr>
        <p:spPr>
          <a:xfrm rot="5400000">
            <a:off x="6849766" y="4970347"/>
            <a:ext cx="92566" cy="730854"/>
          </a:xfrm>
          <a:prstGeom prst="rightBrac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Rectangle: Rounded Corners 31">
            <a:extLst>
              <a:ext uri="{FF2B5EF4-FFF2-40B4-BE49-F238E27FC236}">
                <a16:creationId xmlns:a16="http://schemas.microsoft.com/office/drawing/2014/main" id="{15124ECF-23FB-BD39-9194-E88FEA5A3E21}"/>
              </a:ext>
            </a:extLst>
          </p:cNvPr>
          <p:cNvSpPr/>
          <p:nvPr/>
        </p:nvSpPr>
        <p:spPr>
          <a:xfrm>
            <a:off x="2603182" y="5416772"/>
            <a:ext cx="591526" cy="11815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>
            <a:normAutofit lnSpcReduction="10000"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0" i="0" u="none" strike="noStrike" kern="0" cap="none" spc="0" normalizeH="0" baseline="0" noProof="0">
                <a:ln>
                  <a:noFill/>
                </a:ln>
                <a:solidFill>
                  <a:srgbClr val="69B445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21 day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69B445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5" name="Right Brace 174">
            <a:extLst>
              <a:ext uri="{FF2B5EF4-FFF2-40B4-BE49-F238E27FC236}">
                <a16:creationId xmlns:a16="http://schemas.microsoft.com/office/drawing/2014/main" id="{1EDC85F4-B6B6-C4EB-38A6-D37ED4076A12}"/>
              </a:ext>
            </a:extLst>
          </p:cNvPr>
          <p:cNvSpPr/>
          <p:nvPr/>
        </p:nvSpPr>
        <p:spPr>
          <a:xfrm rot="5400000">
            <a:off x="4841573" y="3876671"/>
            <a:ext cx="77319" cy="2902960"/>
          </a:xfrm>
          <a:prstGeom prst="rightBrac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Rectangle: Rounded Corners 26">
            <a:extLst>
              <a:ext uri="{FF2B5EF4-FFF2-40B4-BE49-F238E27FC236}">
                <a16:creationId xmlns:a16="http://schemas.microsoft.com/office/drawing/2014/main" id="{50F63825-4F01-9F76-2851-47A970D158E8}"/>
              </a:ext>
            </a:extLst>
          </p:cNvPr>
          <p:cNvSpPr/>
          <p:nvPr/>
        </p:nvSpPr>
        <p:spPr>
          <a:xfrm>
            <a:off x="3731567" y="5424580"/>
            <a:ext cx="2237686" cy="2073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0" i="0" u="none" strike="noStrike" kern="0" cap="none" spc="0" normalizeH="0" baseline="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Randomized assignment </a:t>
            </a:r>
          </a:p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1" i="0" u="none" strike="noStrike" kern="0" cap="none" spc="0" normalizeH="0" baseline="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+ SOC (</a:t>
            </a:r>
            <a:r>
              <a:rPr kumimoji="0" lang="en-NZ" sz="800" b="1" i="0" u="none" strike="noStrike" kern="0" cap="none" spc="0" normalizeH="0" baseline="0" noProof="0" err="1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VRd</a:t>
            </a:r>
            <a:r>
              <a:rPr kumimoji="0" lang="en-NZ" sz="800" b="1" i="0" u="none" strike="noStrike" kern="0" cap="none" spc="0" normalizeH="0" baseline="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 [Cycles 1–8], Rd [Cycles 9+])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NZ" sz="800" b="0" i="0" u="none" strike="noStrike" kern="0" cap="none" spc="0" normalizeH="0" baseline="0" noProof="0">
              <a:ln>
                <a:noFill/>
              </a:ln>
              <a:solidFill>
                <a:srgbClr val="E2186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188" name="Vertical Text Placeholder 2">
            <a:extLst>
              <a:ext uri="{FF2B5EF4-FFF2-40B4-BE49-F238E27FC236}">
                <a16:creationId xmlns:a16="http://schemas.microsoft.com/office/drawing/2014/main" id="{65188021-F342-8127-A4DD-04AC1C342CC5}"/>
              </a:ext>
            </a:extLst>
          </p:cNvPr>
          <p:cNvSpPr txBox="1">
            <a:spLocks/>
          </p:cNvSpPr>
          <p:nvPr/>
        </p:nvSpPr>
        <p:spPr>
          <a:xfrm>
            <a:off x="3948245" y="4274763"/>
            <a:ext cx="2404908" cy="490934"/>
          </a:xfrm>
          <a:prstGeom prst="rect">
            <a:avLst/>
          </a:prstGeom>
          <a:solidFill>
            <a:srgbClr val="AB95C7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4 (9W) to 1.0 mg/kg Q9/12W, </a:t>
            </a:r>
            <a:br>
              <a:rPr kumimoji="0" lang="en-N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third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5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A5D43488-07D2-C88B-94AC-A3738725201B}"/>
              </a:ext>
            </a:extLst>
          </p:cNvPr>
          <p:cNvCxnSpPr>
            <a:cxnSpLocks/>
          </p:cNvCxnSpPr>
          <p:nvPr/>
        </p:nvCxnSpPr>
        <p:spPr>
          <a:xfrm>
            <a:off x="6358890" y="4520230"/>
            <a:ext cx="18669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0D8235AF-DAC4-EB79-9277-7D48F6B3CFAF}"/>
              </a:ext>
            </a:extLst>
          </p:cNvPr>
          <p:cNvCxnSpPr>
            <a:cxnSpLocks/>
          </p:cNvCxnSpPr>
          <p:nvPr/>
        </p:nvCxnSpPr>
        <p:spPr>
          <a:xfrm>
            <a:off x="6125368" y="2990409"/>
            <a:ext cx="281085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881DCE8D-45C8-6AB4-82D8-0FF2E1A71EEF}"/>
              </a:ext>
            </a:extLst>
          </p:cNvPr>
          <p:cNvCxnSpPr>
            <a:cxnSpLocks/>
          </p:cNvCxnSpPr>
          <p:nvPr/>
        </p:nvCxnSpPr>
        <p:spPr>
          <a:xfrm>
            <a:off x="6125368" y="2511589"/>
            <a:ext cx="281085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197" name="Freeform: Shape 196">
            <a:extLst>
              <a:ext uri="{FF2B5EF4-FFF2-40B4-BE49-F238E27FC236}">
                <a16:creationId xmlns:a16="http://schemas.microsoft.com/office/drawing/2014/main" id="{8E831810-9631-5125-1ABF-C7C94D5E69CF}"/>
              </a:ext>
            </a:extLst>
          </p:cNvPr>
          <p:cNvSpPr/>
          <p:nvPr/>
        </p:nvSpPr>
        <p:spPr>
          <a:xfrm>
            <a:off x="3222719" y="1553949"/>
            <a:ext cx="252000" cy="1941760"/>
          </a:xfrm>
          <a:custGeom>
            <a:avLst/>
            <a:gdLst>
              <a:gd name="connsiteX0" fmla="*/ 0 w 195262"/>
              <a:gd name="connsiteY0" fmla="*/ 1936750 h 1936750"/>
              <a:gd name="connsiteX1" fmla="*/ 0 w 195262"/>
              <a:gd name="connsiteY1" fmla="*/ 0 h 1936750"/>
              <a:gd name="connsiteX2" fmla="*/ 195262 w 195262"/>
              <a:gd name="connsiteY2" fmla="*/ 0 h 193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5262" h="1936750">
                <a:moveTo>
                  <a:pt x="0" y="1936750"/>
                </a:moveTo>
                <a:lnTo>
                  <a:pt x="0" y="0"/>
                </a:lnTo>
                <a:lnTo>
                  <a:pt x="195262" y="0"/>
                </a:lnTo>
              </a:path>
            </a:pathLst>
          </a:custGeom>
          <a:noFill/>
          <a:ln w="15875" cap="flat" cmpd="sng" algn="ctr">
            <a:solidFill>
              <a:srgbClr val="000000"/>
            </a:solidFill>
            <a:prstDash val="solid"/>
            <a:miter lim="800000"/>
            <a:tailEnd type="triangle" w="sm" len="sm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55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23FE289F-54A2-1FA0-7799-24465288FA05}"/>
              </a:ext>
            </a:extLst>
          </p:cNvPr>
          <p:cNvCxnSpPr>
            <a:cxnSpLocks/>
            <a:stCxn id="183" idx="1"/>
          </p:cNvCxnSpPr>
          <p:nvPr/>
        </p:nvCxnSpPr>
        <p:spPr>
          <a:xfrm flipH="1" flipV="1">
            <a:off x="3452847" y="2032768"/>
            <a:ext cx="255061" cy="1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  <a:tailEnd type="none"/>
          </a:ln>
          <a:effectLst/>
        </p:spPr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A07BA18A-5CA0-1F64-5DB7-76F50079E02A}"/>
              </a:ext>
            </a:extLst>
          </p:cNvPr>
          <p:cNvCxnSpPr>
            <a:cxnSpLocks/>
          </p:cNvCxnSpPr>
          <p:nvPr/>
        </p:nvCxnSpPr>
        <p:spPr>
          <a:xfrm flipH="1">
            <a:off x="3087478" y="3501772"/>
            <a:ext cx="846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16A24957-F36E-E60F-23FD-A7151BEED323}"/>
              </a:ext>
            </a:extLst>
          </p:cNvPr>
          <p:cNvCxnSpPr>
            <a:cxnSpLocks/>
          </p:cNvCxnSpPr>
          <p:nvPr/>
        </p:nvCxnSpPr>
        <p:spPr>
          <a:xfrm>
            <a:off x="3452847" y="2034540"/>
            <a:ext cx="0" cy="145796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92C029FC-9593-B85C-A4F2-8FBD1ABBC13F}"/>
              </a:ext>
            </a:extLst>
          </p:cNvPr>
          <p:cNvCxnSpPr>
            <a:cxnSpLocks/>
          </p:cNvCxnSpPr>
          <p:nvPr/>
        </p:nvCxnSpPr>
        <p:spPr>
          <a:xfrm flipV="1">
            <a:off x="3580626" y="3507740"/>
            <a:ext cx="0" cy="152908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DB57E29A-E631-D51C-102D-08D784E5E924}"/>
              </a:ext>
            </a:extLst>
          </p:cNvPr>
          <p:cNvCxnSpPr>
            <a:cxnSpLocks/>
          </p:cNvCxnSpPr>
          <p:nvPr/>
        </p:nvCxnSpPr>
        <p:spPr>
          <a:xfrm flipH="1">
            <a:off x="3703683" y="3999218"/>
            <a:ext cx="1184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70BED4EA-3305-BB08-921E-29D4082D7610}"/>
              </a:ext>
            </a:extLst>
          </p:cNvPr>
          <p:cNvCxnSpPr>
            <a:cxnSpLocks/>
          </p:cNvCxnSpPr>
          <p:nvPr/>
        </p:nvCxnSpPr>
        <p:spPr>
          <a:xfrm flipV="1">
            <a:off x="4617960" y="3497569"/>
            <a:ext cx="2085082" cy="8407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28E03EB1-0953-A677-D5B0-25BEAD5DC60C}"/>
              </a:ext>
            </a:extLst>
          </p:cNvPr>
          <p:cNvCxnSpPr>
            <a:cxnSpLocks/>
          </p:cNvCxnSpPr>
          <p:nvPr/>
        </p:nvCxnSpPr>
        <p:spPr>
          <a:xfrm>
            <a:off x="5884429" y="1553949"/>
            <a:ext cx="655156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01764E71-58E2-14DB-C4F0-737FBB4B39AA}"/>
              </a:ext>
            </a:extLst>
          </p:cNvPr>
          <p:cNvCxnSpPr>
            <a:cxnSpLocks/>
          </p:cNvCxnSpPr>
          <p:nvPr/>
        </p:nvCxnSpPr>
        <p:spPr>
          <a:xfrm>
            <a:off x="6125368" y="2032769"/>
            <a:ext cx="281085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04D91FF2-8ED2-1478-5E8E-C2E72ED7D1A9}"/>
              </a:ext>
            </a:extLst>
          </p:cNvPr>
          <p:cNvCxnSpPr>
            <a:cxnSpLocks/>
          </p:cNvCxnSpPr>
          <p:nvPr/>
        </p:nvCxnSpPr>
        <p:spPr>
          <a:xfrm>
            <a:off x="6416547" y="2032000"/>
            <a:ext cx="0" cy="146558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A08948D9-9B96-C44C-63FA-0017A6CCFBE2}"/>
              </a:ext>
            </a:extLst>
          </p:cNvPr>
          <p:cNvCxnSpPr>
            <a:cxnSpLocks/>
          </p:cNvCxnSpPr>
          <p:nvPr/>
        </p:nvCxnSpPr>
        <p:spPr>
          <a:xfrm flipH="1">
            <a:off x="3580625" y="4520230"/>
            <a:ext cx="360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F146A60-9EEA-ED0D-A3A3-3E6909B1E1CE}"/>
              </a:ext>
            </a:extLst>
          </p:cNvPr>
          <p:cNvCxnSpPr>
            <a:cxnSpLocks/>
          </p:cNvCxnSpPr>
          <p:nvPr/>
        </p:nvCxnSpPr>
        <p:spPr>
          <a:xfrm flipH="1">
            <a:off x="3597128" y="5035766"/>
            <a:ext cx="468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sp>
        <p:nvSpPr>
          <p:cNvPr id="190" name="Vertical Text Placeholder 2">
            <a:extLst>
              <a:ext uri="{FF2B5EF4-FFF2-40B4-BE49-F238E27FC236}">
                <a16:creationId xmlns:a16="http://schemas.microsoft.com/office/drawing/2014/main" id="{8C038F7D-8145-1304-BF1B-D2900F22144B}"/>
              </a:ext>
            </a:extLst>
          </p:cNvPr>
          <p:cNvSpPr txBox="1">
            <a:spLocks/>
          </p:cNvSpPr>
          <p:nvPr/>
        </p:nvSpPr>
        <p:spPr>
          <a:xfrm>
            <a:off x="3928042" y="3252037"/>
            <a:ext cx="2425111" cy="499470"/>
          </a:xfrm>
          <a:prstGeom prst="rect">
            <a:avLst/>
          </a:prstGeom>
          <a:solidFill>
            <a:srgbClr val="AB95C7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9 (9W) to 1.4 mg/kg Q9/12W, </a:t>
            </a:r>
            <a:br>
              <a:rPr kumimoji="0" lang="en-N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third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9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EFAC5E9F-A4AC-C8D8-1B67-4D59E43D9BCC}"/>
              </a:ext>
            </a:extLst>
          </p:cNvPr>
          <p:cNvCxnSpPr>
            <a:cxnSpLocks/>
          </p:cNvCxnSpPr>
          <p:nvPr/>
        </p:nvCxnSpPr>
        <p:spPr>
          <a:xfrm flipV="1">
            <a:off x="6130847" y="4011682"/>
            <a:ext cx="418110" cy="2907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8C87D012-BDC6-E162-106F-813403154029}"/>
              </a:ext>
            </a:extLst>
          </p:cNvPr>
          <p:cNvCxnSpPr>
            <a:cxnSpLocks/>
          </p:cNvCxnSpPr>
          <p:nvPr/>
        </p:nvCxnSpPr>
        <p:spPr>
          <a:xfrm>
            <a:off x="6198794" y="5035766"/>
            <a:ext cx="350163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BCC38807-4B1A-D445-8470-A211CE61AA83}"/>
              </a:ext>
            </a:extLst>
          </p:cNvPr>
          <p:cNvCxnSpPr>
            <a:cxnSpLocks/>
          </p:cNvCxnSpPr>
          <p:nvPr/>
        </p:nvCxnSpPr>
        <p:spPr>
          <a:xfrm>
            <a:off x="6555532" y="3495712"/>
            <a:ext cx="0" cy="1539203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F9241856-8A91-93B5-6BE6-69E287BBAECF}"/>
              </a:ext>
            </a:extLst>
          </p:cNvPr>
          <p:cNvCxnSpPr>
            <a:cxnSpLocks/>
          </p:cNvCxnSpPr>
          <p:nvPr/>
        </p:nvCxnSpPr>
        <p:spPr>
          <a:xfrm>
            <a:off x="6548957" y="1553949"/>
            <a:ext cx="6575" cy="1926681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181" name="Vertical Text Placeholder 2">
            <a:extLst>
              <a:ext uri="{FF2B5EF4-FFF2-40B4-BE49-F238E27FC236}">
                <a16:creationId xmlns:a16="http://schemas.microsoft.com/office/drawing/2014/main" id="{0A0A30FF-2CD4-2D85-A843-16CAA3C08CE0}"/>
              </a:ext>
            </a:extLst>
          </p:cNvPr>
          <p:cNvSpPr txBox="1">
            <a:spLocks/>
          </p:cNvSpPr>
          <p:nvPr/>
        </p:nvSpPr>
        <p:spPr>
          <a:xfrm>
            <a:off x="3474867" y="1336757"/>
            <a:ext cx="2878286" cy="434384"/>
          </a:xfrm>
          <a:prstGeom prst="rect">
            <a:avLst/>
          </a:prstGeom>
          <a:solidFill>
            <a:srgbClr val="FFC709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9 mg/kg Q3/4W</a:t>
            </a:r>
            <a:r>
              <a:rPr kumimoji="0" lang="en-N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2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Vertical Text Placeholder 2">
            <a:extLst>
              <a:ext uri="{FF2B5EF4-FFF2-40B4-BE49-F238E27FC236}">
                <a16:creationId xmlns:a16="http://schemas.microsoft.com/office/drawing/2014/main" id="{561C1F7D-FA18-3CE7-F0F2-29C6C6BB06FF}"/>
              </a:ext>
            </a:extLst>
          </p:cNvPr>
          <p:cNvSpPr txBox="1">
            <a:spLocks/>
          </p:cNvSpPr>
          <p:nvPr/>
        </p:nvSpPr>
        <p:spPr>
          <a:xfrm>
            <a:off x="3707908" y="1815577"/>
            <a:ext cx="2645245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9 mg/kg Q6/8W, </a:t>
            </a:r>
            <a:b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other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2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Vertical Text Placeholder 2">
            <a:extLst>
              <a:ext uri="{FF2B5EF4-FFF2-40B4-BE49-F238E27FC236}">
                <a16:creationId xmlns:a16="http://schemas.microsoft.com/office/drawing/2014/main" id="{D7E6D5DA-5089-85D6-308D-6829EC17CCBE}"/>
              </a:ext>
            </a:extLst>
          </p:cNvPr>
          <p:cNvSpPr txBox="1">
            <a:spLocks/>
          </p:cNvSpPr>
          <p:nvPr/>
        </p:nvSpPr>
        <p:spPr>
          <a:xfrm>
            <a:off x="3707908" y="2294397"/>
            <a:ext cx="2645245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4 mg/kg Q3/4W, </a:t>
            </a:r>
            <a:b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3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Vertical Text Placeholder 2">
            <a:extLst>
              <a:ext uri="{FF2B5EF4-FFF2-40B4-BE49-F238E27FC236}">
                <a16:creationId xmlns:a16="http://schemas.microsoft.com/office/drawing/2014/main" id="{53C336CF-5211-C2E7-C331-EFB991EFCFA6}"/>
              </a:ext>
            </a:extLst>
          </p:cNvPr>
          <p:cNvSpPr txBox="1">
            <a:spLocks/>
          </p:cNvSpPr>
          <p:nvPr/>
        </p:nvSpPr>
        <p:spPr>
          <a:xfrm>
            <a:off x="3707908" y="2773217"/>
            <a:ext cx="2645245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4 mg/kg Q6/8W, </a:t>
            </a:r>
            <a:br>
              <a:rPr kumimoji="0" lang="en-NZ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other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2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66A7CFFD-FAF6-618F-0E10-D62985F8A6AD}"/>
              </a:ext>
            </a:extLst>
          </p:cNvPr>
          <p:cNvSpPr/>
          <p:nvPr/>
        </p:nvSpPr>
        <p:spPr bwMode="auto">
          <a:xfrm>
            <a:off x="3627752" y="3947661"/>
            <a:ext cx="72000" cy="84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EC9D9927-0699-B447-AC0B-C2D871FC3491}"/>
              </a:ext>
            </a:extLst>
          </p:cNvPr>
          <p:cNvCxnSpPr>
            <a:cxnSpLocks/>
          </p:cNvCxnSpPr>
          <p:nvPr/>
        </p:nvCxnSpPr>
        <p:spPr>
          <a:xfrm flipH="1">
            <a:off x="3590539" y="4013135"/>
            <a:ext cx="126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sp>
        <p:nvSpPr>
          <p:cNvPr id="210" name="Vertical Text Placeholder 2">
            <a:extLst>
              <a:ext uri="{FF2B5EF4-FFF2-40B4-BE49-F238E27FC236}">
                <a16:creationId xmlns:a16="http://schemas.microsoft.com/office/drawing/2014/main" id="{403CF106-997B-790C-41D2-BA64A6CA9400}"/>
              </a:ext>
            </a:extLst>
          </p:cNvPr>
          <p:cNvSpPr txBox="1">
            <a:spLocks/>
          </p:cNvSpPr>
          <p:nvPr/>
        </p:nvSpPr>
        <p:spPr>
          <a:xfrm>
            <a:off x="4060352" y="4810131"/>
            <a:ext cx="2292801" cy="45127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0 mg/kg Q12W, </a:t>
            </a:r>
            <a:br>
              <a:rPr kumimoji="0" lang="en-NZ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third/fourth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0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7A9CD1-5A96-1A83-4980-51180EAF5373}"/>
              </a:ext>
            </a:extLst>
          </p:cNvPr>
          <p:cNvSpPr txBox="1"/>
          <p:nvPr/>
        </p:nvSpPr>
        <p:spPr>
          <a:xfrm>
            <a:off x="3474719" y="1107265"/>
            <a:ext cx="2878434" cy="210579"/>
          </a:xfrm>
          <a:prstGeom prst="rect">
            <a:avLst/>
          </a:prstGeom>
          <a:noFill/>
        </p:spPr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 dosing cohorts*</a:t>
            </a:r>
          </a:p>
        </p:txBody>
      </p:sp>
      <p:sp>
        <p:nvSpPr>
          <p:cNvPr id="211" name="Vertical Text Placeholder 2">
            <a:extLst>
              <a:ext uri="{FF2B5EF4-FFF2-40B4-BE49-F238E27FC236}">
                <a16:creationId xmlns:a16="http://schemas.microsoft.com/office/drawing/2014/main" id="{4860BF2C-4638-E6E2-36A8-448FFE41845B}"/>
              </a:ext>
            </a:extLst>
          </p:cNvPr>
          <p:cNvSpPr txBox="1">
            <a:spLocks/>
          </p:cNvSpPr>
          <p:nvPr/>
        </p:nvSpPr>
        <p:spPr>
          <a:xfrm>
            <a:off x="2621673" y="3313500"/>
            <a:ext cx="554544" cy="376544"/>
          </a:xfrm>
          <a:prstGeom prst="rect">
            <a:avLst/>
          </a:prstGeom>
          <a:solidFill>
            <a:srgbClr val="69B445"/>
          </a:solidFill>
          <a:ln w="12700">
            <a:solidFill>
              <a:srgbClr val="69B445"/>
            </a:solidFill>
          </a:ln>
        </p:spPr>
        <p:txBody>
          <a:bodyPr vert="horz" lIns="0" tIns="0" rIns="0" bIns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Screening phas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Vertical Text Placeholder 2">
            <a:extLst>
              <a:ext uri="{FF2B5EF4-FFF2-40B4-BE49-F238E27FC236}">
                <a16:creationId xmlns:a16="http://schemas.microsoft.com/office/drawing/2014/main" id="{1475331E-4C9D-370C-5C19-66B807C79E4B}"/>
              </a:ext>
            </a:extLst>
          </p:cNvPr>
          <p:cNvSpPr txBox="1">
            <a:spLocks/>
          </p:cNvSpPr>
          <p:nvPr/>
        </p:nvSpPr>
        <p:spPr>
          <a:xfrm>
            <a:off x="6643239" y="3313500"/>
            <a:ext cx="597456" cy="376545"/>
          </a:xfrm>
          <a:prstGeom prst="rect">
            <a:avLst/>
          </a:prstGeom>
          <a:solidFill>
            <a:srgbClr val="244EA2"/>
          </a:solidFill>
          <a:ln w="12700">
            <a:solidFill>
              <a:srgbClr val="244EA2"/>
            </a:solidFill>
          </a:ln>
        </p:spPr>
        <p:txBody>
          <a:bodyPr vert="horz" lIns="0" tIns="0" rIns="0" bIns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Safety follow-up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47">
            <a:extLst>
              <a:ext uri="{FF2B5EF4-FFF2-40B4-BE49-F238E27FC236}">
                <a16:creationId xmlns:a16="http://schemas.microsoft.com/office/drawing/2014/main" id="{0E5B7C29-0F69-8F04-5555-E345AE6A4F3A}"/>
              </a:ext>
            </a:extLst>
          </p:cNvPr>
          <p:cNvSpPr txBox="1">
            <a:spLocks/>
          </p:cNvSpPr>
          <p:nvPr/>
        </p:nvSpPr>
        <p:spPr>
          <a:xfrm>
            <a:off x="365125" y="6091238"/>
            <a:ext cx="11083924" cy="522287"/>
          </a:xfrm>
          <a:prstGeom prst="rect">
            <a:avLst/>
          </a:prstGeom>
        </p:spPr>
        <p:txBody>
          <a:bodyPr vert="horz" wrap="square" lIns="0" tIns="72000" rIns="0" bIns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Cohorts of the sa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ened at the same time. Cohorts with longer rectangles opened earlier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, anti-drug antibodies; AE, adverse event; ASCT, autologous stem cell transplant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ntama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fodoti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CR, complete response; DLT, dose-limiting toxicities; ECOG, Eastern Cooperative Oncology Group; HDT, high-dose chemotherapy; IMWG, International Myeloma Working Group; MM, multiple myeloma; MRD, minimal residual disease; ORR, overall response rate; PK, pharmacokinetics; PR, partial response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xW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very x weeks; RDI, relative dose intensity; SMM, smouldering MM; SOC, standard of care; VGPR, very good partial respons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0D5AEEA3-D7C2-AADB-FBED-916BFE481CD7}"/>
              </a:ext>
            </a:extLst>
          </p:cNvPr>
          <p:cNvSpPr/>
          <p:nvPr/>
        </p:nvSpPr>
        <p:spPr>
          <a:xfrm>
            <a:off x="502195" y="1089025"/>
            <a:ext cx="1945567" cy="392133"/>
          </a:xfrm>
          <a:prstGeom prst="round2SameRect">
            <a:avLst>
              <a:gd name="adj1" fmla="val 32049"/>
              <a:gd name="adj2" fmla="val 0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82880" rIns="182880" bIns="182880" rtlCol="0" anchor="ctr"/>
          <a:lstStyle/>
          <a:p>
            <a:pPr marL="0" marR="0" lvl="0" indent="0" algn="ct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sion criteri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C77BE2-DFCE-2DDC-0B20-6D674853DCD5}"/>
              </a:ext>
            </a:extLst>
          </p:cNvPr>
          <p:cNvSpPr/>
          <p:nvPr/>
        </p:nvSpPr>
        <p:spPr bwMode="auto">
          <a:xfrm>
            <a:off x="496955" y="3347586"/>
            <a:ext cx="1950427" cy="313220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Exclusion criteria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D9FB3B9-1814-8298-2441-3389C2248339}"/>
              </a:ext>
            </a:extLst>
          </p:cNvPr>
          <p:cNvSpPr/>
          <p:nvPr/>
        </p:nvSpPr>
        <p:spPr>
          <a:xfrm>
            <a:off x="7422680" y="1089024"/>
            <a:ext cx="1945567" cy="4609556"/>
          </a:xfrm>
          <a:prstGeom prst="roundRect">
            <a:avLst>
              <a:gd name="adj" fmla="val 8098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</a:ln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tIns="63665" bIns="63665" rtlCol="0" anchor="ctr">
            <a:normAutofit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959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Vertical Text Placeholder 2">
            <a:extLst>
              <a:ext uri="{FF2B5EF4-FFF2-40B4-BE49-F238E27FC236}">
                <a16:creationId xmlns:a16="http://schemas.microsoft.com/office/drawing/2014/main" id="{D2B4E7CD-E236-3560-DBEC-3C7DF90A5C6C}"/>
              </a:ext>
            </a:extLst>
          </p:cNvPr>
          <p:cNvSpPr txBox="1">
            <a:spLocks/>
          </p:cNvSpPr>
          <p:nvPr/>
        </p:nvSpPr>
        <p:spPr>
          <a:xfrm>
            <a:off x="7419727" y="1425477"/>
            <a:ext cx="1950427" cy="3082102"/>
          </a:xfrm>
          <a:prstGeom prst="rect">
            <a:avLst/>
          </a:prstGeom>
          <a:noFill/>
        </p:spPr>
        <p:txBody>
          <a:bodyPr vert="horz" lIns="91440" tIns="91440" rIns="72000" bIns="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Safety (DLTs and AE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fficacy (ORR, ≥CR, ≥VGPR per IMWG criteria)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RDI of lenalidomide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and bortezomib after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4 cycles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Cumulative administered </a:t>
            </a:r>
            <a:r>
              <a:rPr kumimoji="0" lang="en-NZ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belamaf</a:t>
            </a: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 dose after 4 cycles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with </a:t>
            </a:r>
            <a:r>
              <a:rPr kumimoji="0" lang="en-NZ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VRd</a:t>
            </a: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Incidence and </a:t>
            </a:r>
            <a:r>
              <a:rPr kumimoji="0" lang="en-NZ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titers</a:t>
            </a: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 of ADAs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PK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RD negativity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assessed in bone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arrow aspirate samples using next-generation sequencing [10</a:t>
            </a:r>
            <a:r>
              <a:rPr kumimoji="0" lang="en-US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–5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]).</a:t>
            </a: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EAD9D87F-19ED-AF54-FA36-F6E54E5814E7}"/>
              </a:ext>
            </a:extLst>
          </p:cNvPr>
          <p:cNvSpPr/>
          <p:nvPr/>
        </p:nvSpPr>
        <p:spPr>
          <a:xfrm>
            <a:off x="7422680" y="1089025"/>
            <a:ext cx="1945567" cy="392134"/>
          </a:xfrm>
          <a:prstGeom prst="round2SameRect">
            <a:avLst>
              <a:gd name="adj1" fmla="val 32049"/>
              <a:gd name="adj2" fmla="val 0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0" bIns="182880" rtlCol="0" anchor="ctr"/>
          <a:lstStyle/>
          <a:p>
            <a:pPr marL="0" marR="0" lvl="0" indent="0" algn="ct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endpoint: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9390FC-8B73-E0E1-5271-F55DA655E0CE}"/>
              </a:ext>
            </a:extLst>
          </p:cNvPr>
          <p:cNvSpPr/>
          <p:nvPr/>
        </p:nvSpPr>
        <p:spPr bwMode="auto">
          <a:xfrm>
            <a:off x="7417440" y="1776435"/>
            <a:ext cx="1950427" cy="313220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Secondary endpoin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0C3055-CF0E-B15E-9572-A95E09A8A917}"/>
              </a:ext>
            </a:extLst>
          </p:cNvPr>
          <p:cNvSpPr/>
          <p:nvPr/>
        </p:nvSpPr>
        <p:spPr bwMode="auto">
          <a:xfrm>
            <a:off x="7417440" y="4164066"/>
            <a:ext cx="1950427" cy="313220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Exploratory endpoint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E678C08-8521-BE81-5F90-15B74FB0FD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7751" y="1140581"/>
            <a:ext cx="206438" cy="232791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A5BC47D-3D3A-162F-C563-E420ECA0E2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42586" y="1154108"/>
            <a:ext cx="213318" cy="261969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7E1C1E93-3E48-9BFF-AB64-0DDA2C867975}"/>
              </a:ext>
            </a:extLst>
          </p:cNvPr>
          <p:cNvGrpSpPr/>
          <p:nvPr/>
        </p:nvGrpSpPr>
        <p:grpSpPr>
          <a:xfrm>
            <a:off x="2733829" y="2745071"/>
            <a:ext cx="343080" cy="343080"/>
            <a:chOff x="2342570" y="2755069"/>
            <a:chExt cx="343080" cy="34308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F494DCE-76FF-1E7E-EA89-3469552B60F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2570" y="2755069"/>
              <a:ext cx="343080" cy="343080"/>
            </a:xfrm>
            <a:custGeom>
              <a:avLst/>
              <a:gdLst>
                <a:gd name="connsiteX0" fmla="*/ 204696 w 885249"/>
                <a:gd name="connsiteY0" fmla="*/ 0 h 885249"/>
                <a:gd name="connsiteX1" fmla="*/ 623174 w 885249"/>
                <a:gd name="connsiteY1" fmla="*/ 0 h 885249"/>
                <a:gd name="connsiteX2" fmla="*/ 680553 w 885249"/>
                <a:gd name="connsiteY2" fmla="*/ 0 h 885249"/>
                <a:gd name="connsiteX3" fmla="*/ 885249 w 885249"/>
                <a:gd name="connsiteY3" fmla="*/ 0 h 885249"/>
                <a:gd name="connsiteX4" fmla="*/ 885249 w 885249"/>
                <a:gd name="connsiteY4" fmla="*/ 204696 h 885249"/>
                <a:gd name="connsiteX5" fmla="*/ 885249 w 885249"/>
                <a:gd name="connsiteY5" fmla="*/ 262075 h 885249"/>
                <a:gd name="connsiteX6" fmla="*/ 885249 w 885249"/>
                <a:gd name="connsiteY6" fmla="*/ 680553 h 885249"/>
                <a:gd name="connsiteX7" fmla="*/ 680553 w 885249"/>
                <a:gd name="connsiteY7" fmla="*/ 885249 h 885249"/>
                <a:gd name="connsiteX8" fmla="*/ 204696 w 885249"/>
                <a:gd name="connsiteY8" fmla="*/ 885249 h 885249"/>
                <a:gd name="connsiteX9" fmla="*/ 0 w 885249"/>
                <a:gd name="connsiteY9" fmla="*/ 680553 h 885249"/>
                <a:gd name="connsiteX10" fmla="*/ 0 w 885249"/>
                <a:gd name="connsiteY10" fmla="*/ 204696 h 885249"/>
                <a:gd name="connsiteX11" fmla="*/ 204696 w 885249"/>
                <a:gd name="connsiteY11" fmla="*/ 0 h 88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249" h="885249">
                  <a:moveTo>
                    <a:pt x="204696" y="0"/>
                  </a:moveTo>
                  <a:lnTo>
                    <a:pt x="623174" y="0"/>
                  </a:lnTo>
                  <a:lnTo>
                    <a:pt x="680553" y="0"/>
                  </a:lnTo>
                  <a:lnTo>
                    <a:pt x="885249" y="0"/>
                  </a:lnTo>
                  <a:lnTo>
                    <a:pt x="885249" y="204696"/>
                  </a:lnTo>
                  <a:lnTo>
                    <a:pt x="885249" y="262075"/>
                  </a:lnTo>
                  <a:lnTo>
                    <a:pt x="885249" y="680553"/>
                  </a:lnTo>
                  <a:cubicBezTo>
                    <a:pt x="885249" y="793603"/>
                    <a:pt x="793603" y="885249"/>
                    <a:pt x="680553" y="885249"/>
                  </a:cubicBezTo>
                  <a:lnTo>
                    <a:pt x="204696" y="885249"/>
                  </a:lnTo>
                  <a:cubicBezTo>
                    <a:pt x="91646" y="885249"/>
                    <a:pt x="0" y="793603"/>
                    <a:pt x="0" y="680553"/>
                  </a:cubicBezTo>
                  <a:lnTo>
                    <a:pt x="0" y="204696"/>
                  </a:lnTo>
                  <a:cubicBezTo>
                    <a:pt x="0" y="91646"/>
                    <a:pt x="91646" y="0"/>
                    <a:pt x="2046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/>
              <a:tailEnd/>
            </a:ln>
            <a:effectLst>
              <a:outerShdw blurRad="63500" algn="ctr" rotWithShape="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ABA3D10E-B6A8-3A8F-EB15-5C4CA39BD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49841" y="2813067"/>
              <a:ext cx="128539" cy="227084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1E4888-8DCE-8A26-3743-80A2BFC99538}"/>
              </a:ext>
            </a:extLst>
          </p:cNvPr>
          <p:cNvGrpSpPr/>
          <p:nvPr/>
        </p:nvGrpSpPr>
        <p:grpSpPr>
          <a:xfrm>
            <a:off x="6793842" y="2745071"/>
            <a:ext cx="343080" cy="343080"/>
            <a:chOff x="2342570" y="2755069"/>
            <a:chExt cx="343080" cy="34308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197B801-0FC1-DFEA-299B-9A26AFCDD0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2570" y="2755069"/>
              <a:ext cx="343080" cy="343080"/>
            </a:xfrm>
            <a:custGeom>
              <a:avLst/>
              <a:gdLst>
                <a:gd name="connsiteX0" fmla="*/ 204696 w 885249"/>
                <a:gd name="connsiteY0" fmla="*/ 0 h 885249"/>
                <a:gd name="connsiteX1" fmla="*/ 623174 w 885249"/>
                <a:gd name="connsiteY1" fmla="*/ 0 h 885249"/>
                <a:gd name="connsiteX2" fmla="*/ 680553 w 885249"/>
                <a:gd name="connsiteY2" fmla="*/ 0 h 885249"/>
                <a:gd name="connsiteX3" fmla="*/ 885249 w 885249"/>
                <a:gd name="connsiteY3" fmla="*/ 0 h 885249"/>
                <a:gd name="connsiteX4" fmla="*/ 885249 w 885249"/>
                <a:gd name="connsiteY4" fmla="*/ 204696 h 885249"/>
                <a:gd name="connsiteX5" fmla="*/ 885249 w 885249"/>
                <a:gd name="connsiteY5" fmla="*/ 262075 h 885249"/>
                <a:gd name="connsiteX6" fmla="*/ 885249 w 885249"/>
                <a:gd name="connsiteY6" fmla="*/ 680553 h 885249"/>
                <a:gd name="connsiteX7" fmla="*/ 680553 w 885249"/>
                <a:gd name="connsiteY7" fmla="*/ 885249 h 885249"/>
                <a:gd name="connsiteX8" fmla="*/ 204696 w 885249"/>
                <a:gd name="connsiteY8" fmla="*/ 885249 h 885249"/>
                <a:gd name="connsiteX9" fmla="*/ 0 w 885249"/>
                <a:gd name="connsiteY9" fmla="*/ 680553 h 885249"/>
                <a:gd name="connsiteX10" fmla="*/ 0 w 885249"/>
                <a:gd name="connsiteY10" fmla="*/ 204696 h 885249"/>
                <a:gd name="connsiteX11" fmla="*/ 204696 w 885249"/>
                <a:gd name="connsiteY11" fmla="*/ 0 h 88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249" h="885249">
                  <a:moveTo>
                    <a:pt x="204696" y="0"/>
                  </a:moveTo>
                  <a:lnTo>
                    <a:pt x="623174" y="0"/>
                  </a:lnTo>
                  <a:lnTo>
                    <a:pt x="680553" y="0"/>
                  </a:lnTo>
                  <a:lnTo>
                    <a:pt x="885249" y="0"/>
                  </a:lnTo>
                  <a:lnTo>
                    <a:pt x="885249" y="204696"/>
                  </a:lnTo>
                  <a:lnTo>
                    <a:pt x="885249" y="262075"/>
                  </a:lnTo>
                  <a:lnTo>
                    <a:pt x="885249" y="680553"/>
                  </a:lnTo>
                  <a:cubicBezTo>
                    <a:pt x="885249" y="793603"/>
                    <a:pt x="793603" y="885249"/>
                    <a:pt x="680553" y="885249"/>
                  </a:cubicBezTo>
                  <a:lnTo>
                    <a:pt x="204696" y="885249"/>
                  </a:lnTo>
                  <a:cubicBezTo>
                    <a:pt x="91646" y="885249"/>
                    <a:pt x="0" y="793603"/>
                    <a:pt x="0" y="680553"/>
                  </a:cubicBezTo>
                  <a:lnTo>
                    <a:pt x="0" y="204696"/>
                  </a:lnTo>
                  <a:cubicBezTo>
                    <a:pt x="0" y="91646"/>
                    <a:pt x="91646" y="0"/>
                    <a:pt x="2046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/>
              <a:tailEnd/>
            </a:ln>
            <a:effectLst>
              <a:outerShdw blurRad="63500" algn="ctr" rotWithShape="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70A8D92B-91AB-0D89-DA8D-8C1364BB0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49841" y="2813067"/>
              <a:ext cx="128539" cy="227084"/>
            </a:xfrm>
            <a:prstGeom prst="rect">
              <a:avLst/>
            </a:prstGeom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4772E94-0C79-0C00-A8EC-41F03AD233B2}"/>
              </a:ext>
            </a:extLst>
          </p:cNvPr>
          <p:cNvCxnSpPr>
            <a:cxnSpLocks/>
          </p:cNvCxnSpPr>
          <p:nvPr/>
        </p:nvCxnSpPr>
        <p:spPr>
          <a:xfrm rot="10800000">
            <a:off x="3461271" y="2990409"/>
            <a:ext cx="252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1DCB3CB-445B-0D05-FD31-919A55A36FD4}"/>
              </a:ext>
            </a:extLst>
          </p:cNvPr>
          <p:cNvCxnSpPr>
            <a:cxnSpLocks/>
          </p:cNvCxnSpPr>
          <p:nvPr/>
        </p:nvCxnSpPr>
        <p:spPr>
          <a:xfrm rot="10800000">
            <a:off x="3459293" y="2511589"/>
            <a:ext cx="252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sp>
        <p:nvSpPr>
          <p:cNvPr id="187" name="Vertical Text Placeholder 2">
            <a:extLst>
              <a:ext uri="{FF2B5EF4-FFF2-40B4-BE49-F238E27FC236}">
                <a16:creationId xmlns:a16="http://schemas.microsoft.com/office/drawing/2014/main" id="{CCD83DE0-7260-40DC-7A81-BBB6B7B769EA}"/>
              </a:ext>
            </a:extLst>
          </p:cNvPr>
          <p:cNvSpPr txBox="1">
            <a:spLocks/>
          </p:cNvSpPr>
          <p:nvPr/>
        </p:nvSpPr>
        <p:spPr>
          <a:xfrm>
            <a:off x="3707153" y="3795943"/>
            <a:ext cx="2646000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0 mg/kg Q3/4W, </a:t>
            </a:r>
            <a:b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5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2D02AFF0-19E8-C7D7-D681-8E0EC06BF9E7}"/>
              </a:ext>
            </a:extLst>
          </p:cNvPr>
          <p:cNvSpPr txBox="1"/>
          <p:nvPr/>
        </p:nvSpPr>
        <p:spPr>
          <a:xfrm>
            <a:off x="9127724" y="6655956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858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A4DC6ED-F6F8-40A8-92BD-F0B579840A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Placeholder 5">
            <a:extLst>
              <a:ext uri="{FF2B5EF4-FFF2-40B4-BE49-F238E27FC236}">
                <a16:creationId xmlns:a16="http://schemas.microsoft.com/office/drawing/2014/main" id="{30A0D381-4337-353E-7C03-4C94738C3CBA}"/>
              </a:ext>
            </a:extLst>
          </p:cNvPr>
          <p:cNvSpPr txBox="1">
            <a:spLocks/>
          </p:cNvSpPr>
          <p:nvPr/>
        </p:nvSpPr>
        <p:spPr>
          <a:xfrm>
            <a:off x="365125" y="838685"/>
            <a:ext cx="11436182" cy="5311776"/>
          </a:xfrm>
          <a:prstGeom prst="roundRect">
            <a:avLst>
              <a:gd name="adj" fmla="val 5210"/>
            </a:avLst>
          </a:prstGeom>
          <a:solidFill>
            <a:schemeClr val="bg1"/>
          </a:solidFill>
        </p:spPr>
        <p:txBody>
          <a:bodyPr vert="horz" lIns="0" tIns="180000" rIns="0" bIns="180000" rtlCol="0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00" b="1">
              <a:latin typeface="+mj-lt"/>
            </a:endParaRPr>
          </a:p>
          <a:p>
            <a:pPr marL="268288" indent="-176213" fontAlgn="base">
              <a:spcBef>
                <a:spcPts val="0"/>
              </a:spcBef>
              <a:spcAft>
                <a:spcPts val="0"/>
              </a:spcAft>
            </a:pPr>
            <a:r>
              <a:rPr lang="en-GB" sz="1400">
                <a:solidFill>
                  <a:srgbClr val="000000"/>
                </a:solidFill>
              </a:rPr>
              <a:t>ORRs ranged from 71% to 100%</a:t>
            </a:r>
          </a:p>
          <a:p>
            <a:pPr marL="268288" indent="-176213" fontAlgn="base">
              <a:spcBef>
                <a:spcPts val="0"/>
              </a:spcBef>
              <a:spcAft>
                <a:spcPts val="0"/>
              </a:spcAft>
            </a:pPr>
            <a:r>
              <a:rPr lang="en-GB" sz="1400">
                <a:solidFill>
                  <a:srgbClr val="000000"/>
                </a:solidFill>
              </a:rPr>
              <a:t>Time to achieve VGPR+ was consistent across the cohorts (median 2.1–3.2 months) and response deepened over time</a:t>
            </a:r>
          </a:p>
          <a:p>
            <a:pPr marL="268288" indent="-176213" fontAlgn="base">
              <a:spcBef>
                <a:spcPts val="0"/>
              </a:spcBef>
              <a:spcAft>
                <a:spcPts val="0"/>
              </a:spcAft>
            </a:pPr>
            <a:r>
              <a:rPr lang="en-GB" sz="1400">
                <a:solidFill>
                  <a:srgbClr val="000000"/>
                </a:solidFill>
              </a:rPr>
              <a:t>In the first 4 cohorts, CR+ was 62–92%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01EB9C-0953-1DB2-A993-D61E59BFB56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5602" y="1117973"/>
            <a:ext cx="11460164" cy="448480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EB2F276-1F97-6255-D9EF-D1706FB9D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929" y="175596"/>
            <a:ext cx="10583862" cy="722311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DREAMM-9: Efficacy | ORR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C3DC3973-18D2-094E-5092-358F446F9B20}"/>
              </a:ext>
            </a:extLst>
          </p:cNvPr>
          <p:cNvSpPr txBox="1">
            <a:spLocks/>
          </p:cNvSpPr>
          <p:nvPr/>
        </p:nvSpPr>
        <p:spPr>
          <a:xfrm>
            <a:off x="365125" y="6091238"/>
            <a:ext cx="7952024" cy="522287"/>
          </a:xfrm>
          <a:prstGeom prst="rect">
            <a:avLst/>
          </a:prstGeom>
        </p:spPr>
        <p:txBody>
          <a:bodyPr vert="horz" wrap="square" lIns="0" tIns="72000" rIns="0" bIns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, confidence interval; CR+, complete response or better; ORR, overall response rate; PR, partial response; </a:t>
            </a:r>
            <a:r>
              <a:rPr lang="en-GB" sz="8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xW</a:t>
            </a:r>
            <a:r>
              <a:rPr lang="en-GB" sz="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very x weeks; </a:t>
            </a:r>
            <a:r>
              <a:rPr lang="en-GB" sz="8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R</a:t>
            </a:r>
            <a:r>
              <a:rPr lang="en-GB" sz="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stringent complete response; </a:t>
            </a:r>
            <a:br>
              <a:rPr lang="en-GB" sz="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8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GPR+, very good partial response or better.</a:t>
            </a:r>
          </a:p>
        </p:txBody>
      </p:sp>
      <p:sp>
        <p:nvSpPr>
          <p:cNvPr id="21" name="Table Placeholder 5">
            <a:extLst>
              <a:ext uri="{FF2B5EF4-FFF2-40B4-BE49-F238E27FC236}">
                <a16:creationId xmlns:a16="http://schemas.microsoft.com/office/drawing/2014/main" id="{07CF7B7A-29B5-0451-715E-307E32EB253B}"/>
              </a:ext>
            </a:extLst>
          </p:cNvPr>
          <p:cNvSpPr txBox="1">
            <a:spLocks/>
          </p:cNvSpPr>
          <p:nvPr/>
        </p:nvSpPr>
        <p:spPr>
          <a:xfrm>
            <a:off x="485778" y="1193904"/>
            <a:ext cx="11201400" cy="1226953"/>
          </a:xfrm>
          <a:prstGeom prst="roundRect">
            <a:avLst>
              <a:gd name="adj" fmla="val 11526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3675" fontAlgn="base">
              <a:spcBef>
                <a:spcPts val="0"/>
              </a:spcBef>
              <a:buClr>
                <a:schemeClr val="tx2"/>
              </a:buClr>
            </a:pPr>
            <a:r>
              <a:rPr lang="en-U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Rs ranged from 71% to 100%</a:t>
            </a:r>
          </a:p>
          <a:p>
            <a:pPr marL="285750" indent="-193675" fontAlgn="base">
              <a:spcBef>
                <a:spcPts val="0"/>
              </a:spcBef>
              <a:buClr>
                <a:schemeClr val="tx2"/>
              </a:buClr>
            </a:pPr>
            <a:r>
              <a:rPr lang="en-U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me to achieve VGPR+ was consistent across the cohorts (median 2.1–3.2 months) and response deepened over time</a:t>
            </a:r>
          </a:p>
          <a:p>
            <a:pPr marL="285750" indent="-193675" fontAlgn="base">
              <a:spcBef>
                <a:spcPts val="0"/>
              </a:spcBef>
              <a:buClr>
                <a:schemeClr val="tx2"/>
              </a:buClr>
            </a:pPr>
            <a:r>
              <a:rPr lang="en-US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the first 4 cohorts, CR+ was 62–92%</a:t>
            </a:r>
          </a:p>
        </p:txBody>
      </p:sp>
      <p:sp>
        <p:nvSpPr>
          <p:cNvPr id="22" name="Table Placeholder 5">
            <a:extLst>
              <a:ext uri="{FF2B5EF4-FFF2-40B4-BE49-F238E27FC236}">
                <a16:creationId xmlns:a16="http://schemas.microsoft.com/office/drawing/2014/main" id="{8A6E1943-26B2-5CE7-0BB1-E9A0631EABA2}"/>
              </a:ext>
            </a:extLst>
          </p:cNvPr>
          <p:cNvSpPr txBox="1">
            <a:spLocks/>
          </p:cNvSpPr>
          <p:nvPr/>
        </p:nvSpPr>
        <p:spPr>
          <a:xfrm rot="16200000">
            <a:off x="963181" y="716495"/>
            <a:ext cx="1226955" cy="2181764"/>
          </a:xfrm>
          <a:prstGeom prst="round2SameRect">
            <a:avLst>
              <a:gd name="adj1" fmla="val 12035"/>
              <a:gd name="adj2" fmla="val 0"/>
            </a:avLst>
          </a:prstGeom>
          <a:solidFill>
            <a:schemeClr val="tx2"/>
          </a:solidFill>
        </p:spPr>
        <p:txBody>
          <a:bodyPr vert="vert" lIns="0" tIns="91440" rIns="0" bIns="36576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GPR+ was 100% in 3 cohorts including those with lower doses and less frequent schedu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2782968-994C-C07D-2B8C-6B270A00F29F}"/>
              </a:ext>
            </a:extLst>
          </p:cNvPr>
          <p:cNvSpPr>
            <a:spLocks noChangeAspect="1"/>
          </p:cNvSpPr>
          <p:nvPr/>
        </p:nvSpPr>
        <p:spPr bwMode="auto">
          <a:xfrm>
            <a:off x="2438941" y="1572999"/>
            <a:ext cx="457200" cy="457200"/>
          </a:xfrm>
          <a:custGeom>
            <a:avLst/>
            <a:gdLst>
              <a:gd name="connsiteX0" fmla="*/ 204696 w 885249"/>
              <a:gd name="connsiteY0" fmla="*/ 0 h 885249"/>
              <a:gd name="connsiteX1" fmla="*/ 623174 w 885249"/>
              <a:gd name="connsiteY1" fmla="*/ 0 h 885249"/>
              <a:gd name="connsiteX2" fmla="*/ 680553 w 885249"/>
              <a:gd name="connsiteY2" fmla="*/ 0 h 885249"/>
              <a:gd name="connsiteX3" fmla="*/ 885249 w 885249"/>
              <a:gd name="connsiteY3" fmla="*/ 0 h 885249"/>
              <a:gd name="connsiteX4" fmla="*/ 885249 w 885249"/>
              <a:gd name="connsiteY4" fmla="*/ 204696 h 885249"/>
              <a:gd name="connsiteX5" fmla="*/ 885249 w 885249"/>
              <a:gd name="connsiteY5" fmla="*/ 262075 h 885249"/>
              <a:gd name="connsiteX6" fmla="*/ 885249 w 885249"/>
              <a:gd name="connsiteY6" fmla="*/ 680553 h 885249"/>
              <a:gd name="connsiteX7" fmla="*/ 680553 w 885249"/>
              <a:gd name="connsiteY7" fmla="*/ 885249 h 885249"/>
              <a:gd name="connsiteX8" fmla="*/ 204696 w 885249"/>
              <a:gd name="connsiteY8" fmla="*/ 885249 h 885249"/>
              <a:gd name="connsiteX9" fmla="*/ 0 w 885249"/>
              <a:gd name="connsiteY9" fmla="*/ 680553 h 885249"/>
              <a:gd name="connsiteX10" fmla="*/ 0 w 885249"/>
              <a:gd name="connsiteY10" fmla="*/ 204696 h 885249"/>
              <a:gd name="connsiteX11" fmla="*/ 204696 w 885249"/>
              <a:gd name="connsiteY11" fmla="*/ 0 h 88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249" h="885249">
                <a:moveTo>
                  <a:pt x="204696" y="0"/>
                </a:moveTo>
                <a:lnTo>
                  <a:pt x="623174" y="0"/>
                </a:lnTo>
                <a:lnTo>
                  <a:pt x="680553" y="0"/>
                </a:lnTo>
                <a:lnTo>
                  <a:pt x="885249" y="0"/>
                </a:lnTo>
                <a:lnTo>
                  <a:pt x="885249" y="204696"/>
                </a:lnTo>
                <a:lnTo>
                  <a:pt x="885249" y="262075"/>
                </a:lnTo>
                <a:lnTo>
                  <a:pt x="885249" y="680553"/>
                </a:lnTo>
                <a:cubicBezTo>
                  <a:pt x="885249" y="793603"/>
                  <a:pt x="793603" y="885249"/>
                  <a:pt x="680553" y="885249"/>
                </a:cubicBezTo>
                <a:lnTo>
                  <a:pt x="204696" y="885249"/>
                </a:lnTo>
                <a:cubicBezTo>
                  <a:pt x="91646" y="885249"/>
                  <a:pt x="0" y="793603"/>
                  <a:pt x="0" y="680553"/>
                </a:cubicBezTo>
                <a:lnTo>
                  <a:pt x="0" y="204696"/>
                </a:lnTo>
                <a:cubicBezTo>
                  <a:pt x="0" y="91646"/>
                  <a:pt x="91646" y="0"/>
                  <a:pt x="2046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>
            <a:outerShdw blurRad="63500" algn="ctr" rotWithShape="0">
              <a:schemeClr val="tx1">
                <a:alpha val="2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000" b="1" kern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able Placeholder 5">
            <a:extLst>
              <a:ext uri="{FF2B5EF4-FFF2-40B4-BE49-F238E27FC236}">
                <a16:creationId xmlns:a16="http://schemas.microsoft.com/office/drawing/2014/main" id="{92177333-0F06-66C6-AD5B-F8AE2BF5CBFE}"/>
              </a:ext>
            </a:extLst>
          </p:cNvPr>
          <p:cNvSpPr txBox="1">
            <a:spLocks/>
          </p:cNvSpPr>
          <p:nvPr/>
        </p:nvSpPr>
        <p:spPr>
          <a:xfrm>
            <a:off x="485777" y="2562584"/>
            <a:ext cx="11206481" cy="3419283"/>
          </a:xfrm>
          <a:prstGeom prst="roundRect">
            <a:avLst>
              <a:gd name="adj" fmla="val 4584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0" fontAlgn="base">
              <a:spcBef>
                <a:spcPts val="0"/>
              </a:spcBef>
              <a:buClr>
                <a:schemeClr val="tx2"/>
              </a:buClr>
              <a:buNone/>
            </a:pPr>
            <a:endParaRPr lang="en-US" sz="140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AD8E5B9-2AAC-BB01-F610-CE5586CB61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622053"/>
              </p:ext>
            </p:extLst>
          </p:nvPr>
        </p:nvGraphicFramePr>
        <p:xfrm>
          <a:off x="756972" y="2671669"/>
          <a:ext cx="10659010" cy="3200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19194">
                  <a:extLst>
                    <a:ext uri="{9D8B030D-6E8A-4147-A177-3AD203B41FA5}">
                      <a16:colId xmlns:a16="http://schemas.microsoft.com/office/drawing/2014/main" val="1293809434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2351588303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3003871512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2282893480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4073923371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479623107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1073942753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3170355975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4204014042"/>
                    </a:ext>
                  </a:extLst>
                </a:gridCol>
              </a:tblGrid>
              <a:tr h="141158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</a:rPr>
                        <a:t>ORR*, </a:t>
                      </a:r>
                      <a:r>
                        <a:rPr lang="en-GB" sz="1050" b="1" strike="noStrike">
                          <a:solidFill>
                            <a:schemeClr val="tx1"/>
                          </a:solidFill>
                        </a:rPr>
                        <a:t>%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92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86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87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854112"/>
                  </a:ext>
                </a:extLst>
              </a:tr>
              <a:tr h="141158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strike="noStrike">
                          <a:solidFill>
                            <a:schemeClr val="tx1"/>
                          </a:solidFill>
                        </a:rPr>
                        <a:t>VGPR+ / CR+, %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92 / 75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 / 92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92 / 62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 / 9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59 / 4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79 / 7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73 / 53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 / 3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756596"/>
                  </a:ext>
                </a:extLst>
              </a:tr>
            </a:tbl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DD078BF-0D3C-E256-62A3-083C992B9E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1561179"/>
              </p:ext>
            </p:extLst>
          </p:nvPr>
        </p:nvGraphicFramePr>
        <p:xfrm>
          <a:off x="1616017" y="3032589"/>
          <a:ext cx="9785703" cy="1646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DB461555-3F83-9DDA-8884-52FC365097F6}"/>
              </a:ext>
            </a:extLst>
          </p:cNvPr>
          <p:cNvSpPr/>
          <p:nvPr/>
        </p:nvSpPr>
        <p:spPr bwMode="auto">
          <a:xfrm>
            <a:off x="798596" y="3337853"/>
            <a:ext cx="108142" cy="108142"/>
          </a:xfrm>
          <a:prstGeom prst="rect">
            <a:avLst/>
          </a:prstGeom>
          <a:solidFill>
            <a:srgbClr val="BEFFFB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US" sz="1600" kern="0" err="1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5F4069-23F0-9398-60FC-0389856603A2}"/>
              </a:ext>
            </a:extLst>
          </p:cNvPr>
          <p:cNvSpPr txBox="1"/>
          <p:nvPr/>
        </p:nvSpPr>
        <p:spPr>
          <a:xfrm>
            <a:off x="1009619" y="3264714"/>
            <a:ext cx="676695" cy="90972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l"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</a:t>
            </a:r>
          </a:p>
          <a:p>
            <a:pPr algn="l"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GPR</a:t>
            </a:r>
          </a:p>
          <a:p>
            <a:pPr algn="l"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</a:t>
            </a:r>
          </a:p>
          <a:p>
            <a:pPr algn="l"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20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R</a:t>
            </a:r>
            <a:endParaRPr lang="en-US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4C884-4424-B70A-A7D9-BDEB53F78EAE}"/>
              </a:ext>
            </a:extLst>
          </p:cNvPr>
          <p:cNvSpPr/>
          <p:nvPr/>
        </p:nvSpPr>
        <p:spPr bwMode="auto">
          <a:xfrm>
            <a:off x="798596" y="3557626"/>
            <a:ext cx="108142" cy="108142"/>
          </a:xfrm>
          <a:prstGeom prst="rect">
            <a:avLst/>
          </a:prstGeom>
          <a:solidFill>
            <a:srgbClr val="69B445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US" sz="1600" kern="0" err="1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93C525-FB67-6C6B-8DD7-91AD6672455D}"/>
              </a:ext>
            </a:extLst>
          </p:cNvPr>
          <p:cNvSpPr/>
          <p:nvPr/>
        </p:nvSpPr>
        <p:spPr bwMode="auto">
          <a:xfrm>
            <a:off x="795712" y="3783240"/>
            <a:ext cx="108142" cy="108142"/>
          </a:xfrm>
          <a:prstGeom prst="rect">
            <a:avLst/>
          </a:prstGeom>
          <a:solidFill>
            <a:srgbClr val="FFC709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US" sz="1600" kern="0" err="1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542E6C-070B-6E54-D0F9-C1D8C9193686}"/>
              </a:ext>
            </a:extLst>
          </p:cNvPr>
          <p:cNvSpPr/>
          <p:nvPr/>
        </p:nvSpPr>
        <p:spPr bwMode="auto">
          <a:xfrm>
            <a:off x="795712" y="4003013"/>
            <a:ext cx="108142" cy="108142"/>
          </a:xfrm>
          <a:prstGeom prst="rect">
            <a:avLst/>
          </a:prstGeom>
          <a:solidFill>
            <a:srgbClr val="00B8AD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US" sz="1600" kern="0" err="1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255484AD-B758-F9DE-A25C-51AC3EB693D8}"/>
              </a:ext>
            </a:extLst>
          </p:cNvPr>
          <p:cNvGraphicFramePr>
            <a:graphicFrameLocks noGrp="1"/>
          </p:cNvGraphicFramePr>
          <p:nvPr>
            <p:ph type="tbl" sz="quarter" idx="4294967295"/>
            <p:extLst>
              <p:ext uri="{D42A27DB-BD31-4B8C-83A1-F6EECF244321}">
                <p14:modId xmlns:p14="http://schemas.microsoft.com/office/powerpoint/2010/main" val="782854261"/>
              </p:ext>
            </p:extLst>
          </p:nvPr>
        </p:nvGraphicFramePr>
        <p:xfrm>
          <a:off x="883971" y="4690479"/>
          <a:ext cx="10517747" cy="9601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96411">
                  <a:extLst>
                    <a:ext uri="{9D8B030D-6E8A-4147-A177-3AD203B41FA5}">
                      <a16:colId xmlns:a16="http://schemas.microsoft.com/office/drawing/2014/main" val="3400075645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2050500003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250868538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869792577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657998459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523128551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712194991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555196045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2227158527"/>
                    </a:ext>
                  </a:extLst>
                </a:gridCol>
              </a:tblGrid>
              <a:tr h="121505">
                <a:tc>
                  <a:txBody>
                    <a:bodyPr/>
                    <a:lstStyle/>
                    <a:p>
                      <a:endParaRPr lang="en-GB" sz="900">
                        <a:solidFill>
                          <a:schemeClr val="bg1"/>
                        </a:solidFill>
                      </a:endParaRP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2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2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3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1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7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4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5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0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793002"/>
                  </a:ext>
                </a:extLst>
              </a:tr>
              <a:tr h="202999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n follow-up, months (range)</a:t>
                      </a: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7.6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7–50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3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6–3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.2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–3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4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5–3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.1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–23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0–3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2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–22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8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5–10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03538"/>
                  </a:ext>
                </a:extLst>
              </a:tr>
              <a:tr h="202999">
                <a:tc>
                  <a:txBody>
                    <a:bodyPr/>
                    <a:lstStyle/>
                    <a:p>
                      <a:r>
                        <a:rPr lang="en-GB" sz="900" strike="noStrike"/>
                        <a:t>Median time to VGPR+, months (range)</a:t>
                      </a: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8 </a:t>
                      </a:r>
                    </a:p>
                    <a:p>
                      <a:pPr algn="ctr"/>
                      <a:r>
                        <a:rPr lang="en-GB" sz="900" strike="noStrike"/>
                        <a:t>(0.7–4.2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9 </a:t>
                      </a:r>
                    </a:p>
                    <a:p>
                      <a:pPr algn="ctr"/>
                      <a:r>
                        <a:rPr lang="en-GB" sz="900" strike="noStrike"/>
                        <a:t>(0.8–14.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2 </a:t>
                      </a:r>
                    </a:p>
                    <a:p>
                      <a:pPr algn="ctr"/>
                      <a:r>
                        <a:rPr lang="en-GB" sz="900" strike="noStrike"/>
                        <a:t>(0.8–16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1 </a:t>
                      </a:r>
                    </a:p>
                    <a:p>
                      <a:pPr algn="ctr"/>
                      <a:r>
                        <a:rPr lang="en-GB" sz="900" strike="noStrike"/>
                        <a:t>(0.8–5.0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2 </a:t>
                      </a:r>
                    </a:p>
                    <a:p>
                      <a:pPr algn="ctr"/>
                      <a:r>
                        <a:rPr lang="en-GB" sz="900" strike="noStrike"/>
                        <a:t>(0.7–8.1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3.0 </a:t>
                      </a:r>
                    </a:p>
                    <a:p>
                      <a:pPr algn="ctr"/>
                      <a:r>
                        <a:rPr lang="en-GB" sz="900" strike="noStrike"/>
                        <a:t>(1.4–6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3.1 </a:t>
                      </a:r>
                    </a:p>
                    <a:p>
                      <a:pPr algn="ctr"/>
                      <a:r>
                        <a:rPr lang="en-GB" sz="900" strike="noStrike"/>
                        <a:t>(0.8–4.9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3.2</a:t>
                      </a:r>
                    </a:p>
                    <a:p>
                      <a:pPr algn="ctr"/>
                      <a:r>
                        <a:rPr lang="en-GB" sz="900" strike="noStrike"/>
                        <a:t> (1.3–4.9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030234"/>
                  </a:ext>
                </a:extLst>
              </a:tr>
              <a:tr h="23331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/>
                        <a:t>Median time to CR+, months (range)</a:t>
                      </a: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8.3 </a:t>
                      </a:r>
                      <a:br>
                        <a:rPr lang="en-GB" sz="900"/>
                      </a:br>
                      <a:r>
                        <a:rPr lang="en-GB" sz="900"/>
                        <a:t>(2.1–19.4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12.0</a:t>
                      </a:r>
                      <a:br>
                        <a:rPr lang="en-GB" sz="900"/>
                      </a:br>
                      <a:r>
                        <a:rPr lang="en-GB" sz="900"/>
                        <a:t>(4.4–22.9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6.2</a:t>
                      </a:r>
                      <a:br>
                        <a:rPr lang="en-GB" sz="900"/>
                      </a:br>
                      <a:r>
                        <a:rPr lang="en-GB" sz="900"/>
                        <a:t>(1.4–15.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8.8 </a:t>
                      </a:r>
                      <a:br>
                        <a:rPr lang="en-GB" sz="900"/>
                      </a:br>
                      <a:r>
                        <a:rPr lang="en-GB" sz="900"/>
                        <a:t>(1.4–18.4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9.5</a:t>
                      </a:r>
                      <a:br>
                        <a:rPr lang="en-GB" sz="900"/>
                      </a:br>
                      <a:r>
                        <a:rPr lang="en-GB" sz="900"/>
                        <a:t>(3.7–11.1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8.2</a:t>
                      </a:r>
                      <a:br>
                        <a:rPr lang="en-GB" sz="900"/>
                      </a:br>
                      <a:r>
                        <a:rPr lang="en-GB" sz="900"/>
                        <a:t>(2.1–19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6.1</a:t>
                      </a:r>
                      <a:br>
                        <a:rPr lang="en-GB" sz="900"/>
                      </a:br>
                      <a:r>
                        <a:rPr lang="en-GB" sz="900"/>
                        <a:t>(1.4–13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6.5</a:t>
                      </a:r>
                      <a:br>
                        <a:rPr lang="en-GB" sz="900"/>
                      </a:br>
                      <a:r>
                        <a:rPr lang="en-GB" sz="900"/>
                        <a:t>(2.1–9.1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43316"/>
                  </a:ext>
                </a:extLst>
              </a:tr>
            </a:tbl>
          </a:graphicData>
        </a:graphic>
      </p:graphicFrame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E695896F-EA49-C046-1765-5F8D2A5619EF}"/>
              </a:ext>
            </a:extLst>
          </p:cNvPr>
          <p:cNvSpPr txBox="1">
            <a:spLocks/>
          </p:cNvSpPr>
          <p:nvPr/>
        </p:nvSpPr>
        <p:spPr>
          <a:xfrm>
            <a:off x="485777" y="5711857"/>
            <a:ext cx="11201400" cy="271987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alpha val="1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an follow-up varied as cohorts opened at different times; some patients had not been treated for long enough to achieve response</a:t>
            </a:r>
            <a:endParaRPr lang="en-GB" sz="8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1F98AFC-DD0D-EE2D-4B43-94E959D9EC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23541" y="1645253"/>
            <a:ext cx="288000" cy="275294"/>
          </a:xfrm>
          <a:prstGeom prst="rect">
            <a:avLst/>
          </a:prstGeom>
        </p:spPr>
      </p:pic>
      <p:sp>
        <p:nvSpPr>
          <p:cNvPr id="6" name="object 8">
            <a:extLst>
              <a:ext uri="{FF2B5EF4-FFF2-40B4-BE49-F238E27FC236}">
                <a16:creationId xmlns:a16="http://schemas.microsoft.com/office/drawing/2014/main" id="{6D2E8E4C-0A72-7659-EA79-02C0817920F0}"/>
              </a:ext>
            </a:extLst>
          </p:cNvPr>
          <p:cNvSpPr txBox="1"/>
          <p:nvPr/>
        </p:nvSpPr>
        <p:spPr>
          <a:xfrm>
            <a:off x="9223375" y="6647815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322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EA41A71-9C60-88D1-33D9-D1BC2B8EC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able Placeholder 5">
            <a:extLst>
              <a:ext uri="{FF2B5EF4-FFF2-40B4-BE49-F238E27FC236}">
                <a16:creationId xmlns:a16="http://schemas.microsoft.com/office/drawing/2014/main" id="{EC713B40-F9A2-147D-F638-E1A864DB23EF}"/>
              </a:ext>
            </a:extLst>
          </p:cNvPr>
          <p:cNvSpPr txBox="1">
            <a:spLocks/>
          </p:cNvSpPr>
          <p:nvPr/>
        </p:nvSpPr>
        <p:spPr>
          <a:xfrm>
            <a:off x="357187" y="1012968"/>
            <a:ext cx="11468101" cy="5078270"/>
          </a:xfrm>
          <a:prstGeom prst="roundRect">
            <a:avLst>
              <a:gd name="adj" fmla="val 5210"/>
            </a:avLst>
          </a:prstGeom>
          <a:solidFill>
            <a:schemeClr val="bg1"/>
          </a:solidFill>
        </p:spPr>
        <p:txBody>
          <a:bodyPr vert="horz" lIns="0" tIns="180000" rIns="0" bIns="180000" rtlCol="0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lvl="1" indent="0">
              <a:buNone/>
            </a:pPr>
            <a:endParaRPr lang="en-GB">
              <a:highlight>
                <a:srgbClr val="FFFF00"/>
              </a:highlight>
            </a:endParaRPr>
          </a:p>
          <a:p>
            <a:pPr lvl="1"/>
            <a:endParaRPr lang="en-GB">
              <a:highlight>
                <a:srgbClr val="FFFF00"/>
              </a:highlight>
            </a:endParaRPr>
          </a:p>
          <a:p>
            <a:pPr marL="288000" lvl="1" indent="0">
              <a:buNone/>
            </a:pPr>
            <a:endParaRPr lang="en-GB"/>
          </a:p>
          <a:p>
            <a:pPr marL="288000" lvl="1" indent="0">
              <a:buNone/>
            </a:pP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75DA74-1BD5-F72F-B71F-D20C20862A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7132" y="5906019"/>
            <a:ext cx="9505950" cy="522287"/>
          </a:xfrm>
        </p:spPr>
        <p:txBody>
          <a:bodyPr/>
          <a:lstStyle/>
          <a:p>
            <a:r>
              <a:rPr lang="en-GB" sz="800" b="0" i="0" u="none" strike="noStrike" dirty="0">
                <a:solidFill>
                  <a:srgbClr val="000000"/>
                </a:solidFill>
                <a:effectLst/>
              </a:rPr>
              <a:t>*</a:t>
            </a:r>
            <a:r>
              <a:rPr lang="en-GB" sz="800" dirty="0"/>
              <a:t>MRD[-] was measured by next-generation sequencing [10</a:t>
            </a:r>
            <a:r>
              <a:rPr lang="en-GB" sz="800" baseline="30000" dirty="0"/>
              <a:t>-5</a:t>
            </a:r>
            <a:r>
              <a:rPr lang="en-GB" sz="800" dirty="0"/>
              <a:t>] in patients achieving CR+</a:t>
            </a:r>
            <a:r>
              <a:rPr lang="en-US" sz="800" dirty="0"/>
              <a:t>​, and is shown as proportion of the ITT population.</a:t>
            </a:r>
            <a:br>
              <a:rPr lang="en-US" sz="800" dirty="0"/>
            </a:br>
            <a:r>
              <a:rPr lang="en-GB" sz="800" dirty="0" err="1"/>
              <a:t>belamaf</a:t>
            </a:r>
            <a:r>
              <a:rPr lang="en-GB" sz="800" dirty="0"/>
              <a:t>, </a:t>
            </a:r>
            <a:r>
              <a:rPr lang="en-GB" sz="800" dirty="0" err="1"/>
              <a:t>belantamab</a:t>
            </a:r>
            <a:r>
              <a:rPr lang="en-GB" sz="800" dirty="0"/>
              <a:t> </a:t>
            </a:r>
            <a:r>
              <a:rPr lang="en-GB" sz="800" dirty="0" err="1"/>
              <a:t>mafodotin</a:t>
            </a:r>
            <a:r>
              <a:rPr lang="en-GB" sz="800" dirty="0"/>
              <a:t>; CR,+ complete response or better; ITT, intention-to-treat; MRD[−], minimal residual disease negativity; </a:t>
            </a:r>
            <a:r>
              <a:rPr lang="en-GB" sz="800" dirty="0" err="1"/>
              <a:t>QxW</a:t>
            </a:r>
            <a:r>
              <a:rPr lang="en-GB" sz="800" dirty="0"/>
              <a:t>, every x weeks.</a:t>
            </a:r>
            <a:r>
              <a:rPr lang="en-US" sz="800" dirty="0"/>
              <a:t>​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70C67A-8047-4189-4CB4-43A7314C4EF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125" y="1170436"/>
            <a:ext cx="11460164" cy="448480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C994519-4DCA-E677-4D77-23A9F845C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16" y="270477"/>
            <a:ext cx="10583862" cy="722311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DREAMM-9: Efficacy | MRD-negativity rate*</a:t>
            </a:r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4088CC05-075D-58F1-971A-F90DB774ABFE}"/>
              </a:ext>
            </a:extLst>
          </p:cNvPr>
          <p:cNvSpPr txBox="1">
            <a:spLocks/>
          </p:cNvSpPr>
          <p:nvPr/>
        </p:nvSpPr>
        <p:spPr>
          <a:xfrm rot="16200000">
            <a:off x="5739413" y="-3997752"/>
            <a:ext cx="713175" cy="11201402"/>
          </a:xfrm>
          <a:prstGeom prst="roundRect">
            <a:avLst>
              <a:gd name="adj" fmla="val 19980"/>
            </a:avLst>
          </a:prstGeom>
          <a:solidFill>
            <a:schemeClr val="tx2"/>
          </a:solidFill>
        </p:spPr>
        <p:txBody>
          <a:bodyPr vert="vert" lIns="0" tIns="731520" rIns="0" bIns="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>
                <a:solidFill>
                  <a:schemeClr val="bg1"/>
                </a:solidFill>
                <a:latin typeface="+mj-lt"/>
              </a:rPr>
              <a:t>Higher </a:t>
            </a:r>
            <a:r>
              <a:rPr lang="en-US" b="1" err="1">
                <a:solidFill>
                  <a:schemeClr val="bg1"/>
                </a:solidFill>
                <a:latin typeface="+mj-lt"/>
              </a:rPr>
              <a:t>belamaf</a:t>
            </a:r>
            <a:r>
              <a:rPr lang="en-US" b="1">
                <a:solidFill>
                  <a:schemeClr val="bg1"/>
                </a:solidFill>
                <a:latin typeface="+mj-lt"/>
              </a:rPr>
              <a:t> starting doses were associated with deeper and faster MRD[−] rate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62B9809-95D0-47B3-CFBC-C0B2300B101B}"/>
              </a:ext>
            </a:extLst>
          </p:cNvPr>
          <p:cNvSpPr>
            <a:spLocks noChangeAspect="1"/>
          </p:cNvSpPr>
          <p:nvPr/>
        </p:nvSpPr>
        <p:spPr bwMode="auto">
          <a:xfrm>
            <a:off x="633302" y="1374349"/>
            <a:ext cx="457200" cy="457200"/>
          </a:xfrm>
          <a:custGeom>
            <a:avLst/>
            <a:gdLst>
              <a:gd name="connsiteX0" fmla="*/ 204696 w 885249"/>
              <a:gd name="connsiteY0" fmla="*/ 0 h 885249"/>
              <a:gd name="connsiteX1" fmla="*/ 623174 w 885249"/>
              <a:gd name="connsiteY1" fmla="*/ 0 h 885249"/>
              <a:gd name="connsiteX2" fmla="*/ 680553 w 885249"/>
              <a:gd name="connsiteY2" fmla="*/ 0 h 885249"/>
              <a:gd name="connsiteX3" fmla="*/ 885249 w 885249"/>
              <a:gd name="connsiteY3" fmla="*/ 0 h 885249"/>
              <a:gd name="connsiteX4" fmla="*/ 885249 w 885249"/>
              <a:gd name="connsiteY4" fmla="*/ 204696 h 885249"/>
              <a:gd name="connsiteX5" fmla="*/ 885249 w 885249"/>
              <a:gd name="connsiteY5" fmla="*/ 262075 h 885249"/>
              <a:gd name="connsiteX6" fmla="*/ 885249 w 885249"/>
              <a:gd name="connsiteY6" fmla="*/ 680553 h 885249"/>
              <a:gd name="connsiteX7" fmla="*/ 680553 w 885249"/>
              <a:gd name="connsiteY7" fmla="*/ 885249 h 885249"/>
              <a:gd name="connsiteX8" fmla="*/ 204696 w 885249"/>
              <a:gd name="connsiteY8" fmla="*/ 885249 h 885249"/>
              <a:gd name="connsiteX9" fmla="*/ 0 w 885249"/>
              <a:gd name="connsiteY9" fmla="*/ 680553 h 885249"/>
              <a:gd name="connsiteX10" fmla="*/ 0 w 885249"/>
              <a:gd name="connsiteY10" fmla="*/ 204696 h 885249"/>
              <a:gd name="connsiteX11" fmla="*/ 204696 w 885249"/>
              <a:gd name="connsiteY11" fmla="*/ 0 h 88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249" h="885249">
                <a:moveTo>
                  <a:pt x="204696" y="0"/>
                </a:moveTo>
                <a:lnTo>
                  <a:pt x="623174" y="0"/>
                </a:lnTo>
                <a:lnTo>
                  <a:pt x="680553" y="0"/>
                </a:lnTo>
                <a:lnTo>
                  <a:pt x="885249" y="0"/>
                </a:lnTo>
                <a:lnTo>
                  <a:pt x="885249" y="204696"/>
                </a:lnTo>
                <a:lnTo>
                  <a:pt x="885249" y="262075"/>
                </a:lnTo>
                <a:lnTo>
                  <a:pt x="885249" y="680553"/>
                </a:lnTo>
                <a:cubicBezTo>
                  <a:pt x="885249" y="793603"/>
                  <a:pt x="793603" y="885249"/>
                  <a:pt x="680553" y="885249"/>
                </a:cubicBezTo>
                <a:lnTo>
                  <a:pt x="204696" y="885249"/>
                </a:lnTo>
                <a:cubicBezTo>
                  <a:pt x="91646" y="885249"/>
                  <a:pt x="0" y="793603"/>
                  <a:pt x="0" y="680553"/>
                </a:cubicBezTo>
                <a:lnTo>
                  <a:pt x="0" y="204696"/>
                </a:lnTo>
                <a:cubicBezTo>
                  <a:pt x="0" y="91646"/>
                  <a:pt x="91646" y="0"/>
                  <a:pt x="2046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>
            <a:outerShdw blurRad="63500" algn="ctr" rotWithShape="0">
              <a:schemeClr val="tx1">
                <a:alpha val="2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000" b="1" kern="0">
              <a:solidFill>
                <a:schemeClr val="tx1"/>
              </a:solidFill>
            </a:endParaRPr>
          </a:p>
        </p:txBody>
      </p:sp>
      <p:sp>
        <p:nvSpPr>
          <p:cNvPr id="14" name="Table Placeholder 5">
            <a:extLst>
              <a:ext uri="{FF2B5EF4-FFF2-40B4-BE49-F238E27FC236}">
                <a16:creationId xmlns:a16="http://schemas.microsoft.com/office/drawing/2014/main" id="{999329D3-614E-3937-5A56-8464152EDDF3}"/>
              </a:ext>
            </a:extLst>
          </p:cNvPr>
          <p:cNvSpPr txBox="1">
            <a:spLocks/>
          </p:cNvSpPr>
          <p:nvPr/>
        </p:nvSpPr>
        <p:spPr>
          <a:xfrm>
            <a:off x="495300" y="2084444"/>
            <a:ext cx="11206481" cy="3738080"/>
          </a:xfrm>
          <a:prstGeom prst="roundRect">
            <a:avLst>
              <a:gd name="adj" fmla="val 4584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0" fontAlgn="base">
              <a:spcBef>
                <a:spcPts val="0"/>
              </a:spcBef>
              <a:buClr>
                <a:schemeClr val="tx2"/>
              </a:buClr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9FFC876-C492-F61A-F7ED-23AD68B190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7772825"/>
              </p:ext>
            </p:extLst>
          </p:nvPr>
        </p:nvGraphicFramePr>
        <p:xfrm>
          <a:off x="2420390" y="2090688"/>
          <a:ext cx="9289329" cy="2829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69DB7A8-9C49-80FB-54E1-ED3F15D6E3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612346"/>
              </p:ext>
            </p:extLst>
          </p:nvPr>
        </p:nvGraphicFramePr>
        <p:xfrm>
          <a:off x="633730" y="4213168"/>
          <a:ext cx="9745034" cy="163186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10994">
                  <a:extLst>
                    <a:ext uri="{9D8B030D-6E8A-4147-A177-3AD203B41FA5}">
                      <a16:colId xmlns:a16="http://schemas.microsoft.com/office/drawing/2014/main" val="559392652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2250596359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1400207749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2065677170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3230565077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1366303883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990823303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2768792468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4180420978"/>
                    </a:ext>
                  </a:extLst>
                </a:gridCol>
              </a:tblGrid>
              <a:tr h="522825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endParaRPr lang="en-GB" sz="12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9 mg/kg Q3/4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9 mg/kg Q6/8W 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4 mg/kg Q3/4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4 mg/kg Q6/8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9 (9W) to 1.4 mg/kg Q9/12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0 mg/kg Q3/4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4 (9W) to 1.0 mg/kg Q9/12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0 mg/kg Q12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709584"/>
                  </a:ext>
                </a:extLst>
              </a:tr>
              <a:tr h="380236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RD[−], n (% of patients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CR+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(10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 (73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(88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(5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(71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(6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(5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925594"/>
                  </a:ext>
                </a:extLst>
              </a:tr>
              <a:tr h="382685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n time to MRD[−],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nths (range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3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1–17.5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9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4.2–14.7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.2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3–24.9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6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1–23.1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4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2–10.2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8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5–12.3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1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1–9.2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745733"/>
                  </a:ext>
                </a:extLst>
              </a:tr>
              <a:tr h="271603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n follow-up, months 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7.6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3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.2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4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2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8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220523"/>
                  </a:ext>
                </a:extLst>
              </a:tr>
            </a:tbl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211C3C6A-B2B9-E0F7-6B36-E9B654C8F3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5682" y="1456430"/>
            <a:ext cx="292742" cy="29274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2F3E2553-3E57-85D0-4720-1940A498DD41}"/>
              </a:ext>
            </a:extLst>
          </p:cNvPr>
          <p:cNvSpPr txBox="1"/>
          <p:nvPr/>
        </p:nvSpPr>
        <p:spPr>
          <a:xfrm>
            <a:off x="9131935" y="6638196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815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B7167A-8A27-8112-1FF2-0D49E3B85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E34979-B98B-97D1-4AED-5F4E2E3E97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125" y="1311162"/>
            <a:ext cx="11460164" cy="4780076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4E4E080-68F1-A970-0239-02C8615AA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REAMM-9: Best corrected visual acuity</a:t>
            </a:r>
            <a:endParaRPr lang="en-GB" sz="3200" strike="sngStrike" dirty="0">
              <a:solidFill>
                <a:srgbClr val="C00000"/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1174C059-C5A1-9B64-5983-16C74DBA6931}"/>
              </a:ext>
            </a:extLst>
          </p:cNvPr>
          <p:cNvSpPr txBox="1">
            <a:spLocks/>
          </p:cNvSpPr>
          <p:nvPr/>
        </p:nvSpPr>
        <p:spPr>
          <a:xfrm>
            <a:off x="495301" y="1387093"/>
            <a:ext cx="11201400" cy="1226953"/>
          </a:xfrm>
          <a:prstGeom prst="roundRect">
            <a:avLst>
              <a:gd name="adj" fmla="val 11526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38" indent="-195263" fontAlgn="base">
              <a:spcBef>
                <a:spcPts val="0"/>
              </a:spcBef>
              <a:buClr>
                <a:schemeClr val="tx2"/>
              </a:buClr>
            </a:pPr>
            <a:r>
              <a:rPr lang="en-US" sz="1200">
                <a:solidFill>
                  <a:srgbClr val="000000"/>
                </a:solidFill>
              </a:rPr>
              <a:t>Extending the dosing interval between the 1.9 mg/kg </a:t>
            </a:r>
            <a:br>
              <a:rPr lang="en-US" sz="1200">
                <a:solidFill>
                  <a:srgbClr val="000000"/>
                </a:solidFill>
              </a:rPr>
            </a:br>
            <a:r>
              <a:rPr lang="en-US" sz="1200">
                <a:solidFill>
                  <a:srgbClr val="000000"/>
                </a:solidFill>
              </a:rPr>
              <a:t>or 1.4 mg/kg doses from Q3/4W to Q6/8W was associated </a:t>
            </a:r>
            <a:br>
              <a:rPr lang="en-US" sz="1200">
                <a:solidFill>
                  <a:srgbClr val="000000"/>
                </a:solidFill>
              </a:rPr>
            </a:br>
            <a:r>
              <a:rPr lang="en-US" sz="1200">
                <a:solidFill>
                  <a:srgbClr val="000000"/>
                </a:solidFill>
              </a:rPr>
              <a:t>with longer time to BCVA decrease to 20/50 or worse*</a:t>
            </a:r>
          </a:p>
          <a:p>
            <a:pPr marL="287338" indent="-195263" fontAlgn="base">
              <a:spcBef>
                <a:spcPts val="0"/>
              </a:spcBef>
              <a:buClr>
                <a:schemeClr val="tx2"/>
              </a:buClr>
            </a:pPr>
            <a:r>
              <a:rPr lang="en-US" sz="1200">
                <a:solidFill>
                  <a:srgbClr val="000000"/>
                </a:solidFill>
              </a:rPr>
              <a:t>Resolution of BCVA decreases was generally faster in </a:t>
            </a:r>
            <a:br>
              <a:rPr lang="en-US" sz="1200">
                <a:solidFill>
                  <a:srgbClr val="000000"/>
                </a:solidFill>
              </a:rPr>
            </a:br>
            <a:r>
              <a:rPr lang="en-US" sz="1200">
                <a:solidFill>
                  <a:srgbClr val="000000"/>
                </a:solidFill>
              </a:rPr>
              <a:t>cohorts with lower initial doses of </a:t>
            </a:r>
            <a:r>
              <a:rPr lang="en-US" sz="1200" err="1">
                <a:solidFill>
                  <a:srgbClr val="000000"/>
                </a:solidFill>
              </a:rPr>
              <a:t>belamaf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7" name="Table Placeholder 5">
            <a:extLst>
              <a:ext uri="{FF2B5EF4-FFF2-40B4-BE49-F238E27FC236}">
                <a16:creationId xmlns:a16="http://schemas.microsoft.com/office/drawing/2014/main" id="{BFC51594-15AB-4B75-D20D-CEF827FA1C7C}"/>
              </a:ext>
            </a:extLst>
          </p:cNvPr>
          <p:cNvSpPr txBox="1">
            <a:spLocks/>
          </p:cNvSpPr>
          <p:nvPr/>
        </p:nvSpPr>
        <p:spPr>
          <a:xfrm rot="16200000">
            <a:off x="972704" y="909684"/>
            <a:ext cx="1226955" cy="2181764"/>
          </a:xfrm>
          <a:prstGeom prst="round2SameRect">
            <a:avLst>
              <a:gd name="adj1" fmla="val 12035"/>
              <a:gd name="adj2" fmla="val 0"/>
            </a:avLst>
          </a:prstGeom>
          <a:solidFill>
            <a:schemeClr val="tx2"/>
          </a:solidFill>
        </p:spPr>
        <p:txBody>
          <a:bodyPr vert="vert" lIns="0" tIns="91440" rIns="0" bIns="36576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>
                <a:solidFill>
                  <a:schemeClr val="bg1"/>
                </a:solidFill>
                <a:latin typeface="+mj-lt"/>
              </a:rPr>
              <a:t>Dose and schedule affected the time to, and resolution of, BCVA decreases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BA8E3E2-B501-7696-6BBD-79777A3832F0}"/>
              </a:ext>
            </a:extLst>
          </p:cNvPr>
          <p:cNvSpPr>
            <a:spLocks noChangeAspect="1"/>
          </p:cNvSpPr>
          <p:nvPr/>
        </p:nvSpPr>
        <p:spPr bwMode="auto">
          <a:xfrm>
            <a:off x="2448464" y="1766188"/>
            <a:ext cx="457200" cy="457200"/>
          </a:xfrm>
          <a:custGeom>
            <a:avLst/>
            <a:gdLst>
              <a:gd name="connsiteX0" fmla="*/ 204696 w 885249"/>
              <a:gd name="connsiteY0" fmla="*/ 0 h 885249"/>
              <a:gd name="connsiteX1" fmla="*/ 623174 w 885249"/>
              <a:gd name="connsiteY1" fmla="*/ 0 h 885249"/>
              <a:gd name="connsiteX2" fmla="*/ 680553 w 885249"/>
              <a:gd name="connsiteY2" fmla="*/ 0 h 885249"/>
              <a:gd name="connsiteX3" fmla="*/ 885249 w 885249"/>
              <a:gd name="connsiteY3" fmla="*/ 0 h 885249"/>
              <a:gd name="connsiteX4" fmla="*/ 885249 w 885249"/>
              <a:gd name="connsiteY4" fmla="*/ 204696 h 885249"/>
              <a:gd name="connsiteX5" fmla="*/ 885249 w 885249"/>
              <a:gd name="connsiteY5" fmla="*/ 262075 h 885249"/>
              <a:gd name="connsiteX6" fmla="*/ 885249 w 885249"/>
              <a:gd name="connsiteY6" fmla="*/ 680553 h 885249"/>
              <a:gd name="connsiteX7" fmla="*/ 680553 w 885249"/>
              <a:gd name="connsiteY7" fmla="*/ 885249 h 885249"/>
              <a:gd name="connsiteX8" fmla="*/ 204696 w 885249"/>
              <a:gd name="connsiteY8" fmla="*/ 885249 h 885249"/>
              <a:gd name="connsiteX9" fmla="*/ 0 w 885249"/>
              <a:gd name="connsiteY9" fmla="*/ 680553 h 885249"/>
              <a:gd name="connsiteX10" fmla="*/ 0 w 885249"/>
              <a:gd name="connsiteY10" fmla="*/ 204696 h 885249"/>
              <a:gd name="connsiteX11" fmla="*/ 204696 w 885249"/>
              <a:gd name="connsiteY11" fmla="*/ 0 h 88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249" h="885249">
                <a:moveTo>
                  <a:pt x="204696" y="0"/>
                </a:moveTo>
                <a:lnTo>
                  <a:pt x="623174" y="0"/>
                </a:lnTo>
                <a:lnTo>
                  <a:pt x="680553" y="0"/>
                </a:lnTo>
                <a:lnTo>
                  <a:pt x="885249" y="0"/>
                </a:lnTo>
                <a:lnTo>
                  <a:pt x="885249" y="204696"/>
                </a:lnTo>
                <a:lnTo>
                  <a:pt x="885249" y="262075"/>
                </a:lnTo>
                <a:lnTo>
                  <a:pt x="885249" y="680553"/>
                </a:lnTo>
                <a:cubicBezTo>
                  <a:pt x="885249" y="793603"/>
                  <a:pt x="793603" y="885249"/>
                  <a:pt x="680553" y="885249"/>
                </a:cubicBezTo>
                <a:lnTo>
                  <a:pt x="204696" y="885249"/>
                </a:lnTo>
                <a:cubicBezTo>
                  <a:pt x="91646" y="885249"/>
                  <a:pt x="0" y="793603"/>
                  <a:pt x="0" y="680553"/>
                </a:cubicBezTo>
                <a:lnTo>
                  <a:pt x="0" y="204696"/>
                </a:lnTo>
                <a:cubicBezTo>
                  <a:pt x="0" y="91646"/>
                  <a:pt x="91646" y="0"/>
                  <a:pt x="2046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>
            <a:outerShdw blurRad="63500" algn="ctr" rotWithShape="0">
              <a:schemeClr val="tx1">
                <a:alpha val="2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endParaRPr lang="en-US" sz="1000" b="1" kern="0">
              <a:solidFill>
                <a:schemeClr val="tx1"/>
              </a:solidFill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1A997F57-72BB-A741-079E-9D9603E4FF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52476" y="1867407"/>
            <a:ext cx="254762" cy="254762"/>
          </a:xfrm>
          <a:prstGeom prst="rect">
            <a:avLst/>
          </a:prstGeom>
        </p:spPr>
      </p:pic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97C6F81F-9299-60A5-ABA0-67A37D7F6D82}"/>
              </a:ext>
            </a:extLst>
          </p:cNvPr>
          <p:cNvSpPr txBox="1">
            <a:spLocks/>
          </p:cNvSpPr>
          <p:nvPr/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vert="horz" wrap="square" lIns="0" tIns="72000" rIns="0" bIns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*</a:t>
            </a:r>
            <a:r>
              <a:rPr lang="en-GB" sz="800" dirty="0"/>
              <a:t>In the 4 cohorts shown, 2 patients had a BCVA change from 20/25 or better to 20/200 or worse. These patients both had bilateral cataracts.</a:t>
            </a:r>
            <a:br>
              <a:rPr lang="en-GB" sz="800" dirty="0"/>
            </a:br>
            <a:r>
              <a:rPr kumimoji="0" lang="en-US" sz="8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†</a:t>
            </a:r>
            <a:r>
              <a:rPr lang="en-US" sz="800" dirty="0"/>
              <a:t>Image adapted from Shi C, et al. </a:t>
            </a:r>
            <a:r>
              <a:rPr lang="en-US" sz="800" dirty="0" err="1"/>
              <a:t>bioRxiv</a:t>
            </a:r>
            <a:r>
              <a:rPr lang="en-US" sz="800" dirty="0"/>
              <a:t>. 2018;doi:doi.org/10.1101/328443.  Copyright © 2018 the Author.</a:t>
            </a:r>
            <a:br>
              <a:rPr lang="en-GB" sz="800" dirty="0"/>
            </a:br>
            <a:r>
              <a:rPr lang="en-GB" sz="800" dirty="0" err="1"/>
              <a:t>belamaf</a:t>
            </a:r>
            <a:r>
              <a:rPr lang="en-GB" sz="800" dirty="0"/>
              <a:t>, </a:t>
            </a:r>
            <a:r>
              <a:rPr lang="en-GB" sz="800" dirty="0" err="1"/>
              <a:t>belantamab</a:t>
            </a:r>
            <a:r>
              <a:rPr lang="en-GB" sz="800" dirty="0"/>
              <a:t> </a:t>
            </a:r>
            <a:r>
              <a:rPr lang="en-GB" sz="800" dirty="0" err="1"/>
              <a:t>mafodotin</a:t>
            </a:r>
            <a:r>
              <a:rPr lang="en-GB" sz="800"/>
              <a:t>; BCVA, </a:t>
            </a:r>
            <a:r>
              <a:rPr lang="en-GB" sz="800" dirty="0"/>
              <a:t>best corrected visual acuity; </a:t>
            </a:r>
            <a:r>
              <a:rPr lang="en-GB" sz="800" dirty="0" err="1"/>
              <a:t>QxW</a:t>
            </a:r>
            <a:r>
              <a:rPr lang="en-GB" sz="800" dirty="0"/>
              <a:t>, every x weeks.</a:t>
            </a:r>
          </a:p>
        </p:txBody>
      </p:sp>
      <p:sp>
        <p:nvSpPr>
          <p:cNvPr id="31" name="Table Placeholder 5">
            <a:extLst>
              <a:ext uri="{FF2B5EF4-FFF2-40B4-BE49-F238E27FC236}">
                <a16:creationId xmlns:a16="http://schemas.microsoft.com/office/drawing/2014/main" id="{4597E89C-244E-A0E4-3276-9FB86DD9DB55}"/>
              </a:ext>
            </a:extLst>
          </p:cNvPr>
          <p:cNvSpPr txBox="1">
            <a:spLocks/>
          </p:cNvSpPr>
          <p:nvPr/>
        </p:nvSpPr>
        <p:spPr>
          <a:xfrm>
            <a:off x="497998" y="2774413"/>
            <a:ext cx="11203781" cy="3219987"/>
          </a:xfrm>
          <a:prstGeom prst="roundRect">
            <a:avLst>
              <a:gd name="adj" fmla="val 4584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indent="0" fontAlgn="base">
              <a:spcBef>
                <a:spcPts val="0"/>
              </a:spcBef>
              <a:buClr>
                <a:schemeClr val="tx2"/>
              </a:buClr>
              <a:buNone/>
            </a:pPr>
            <a:endParaRPr lang="en-US" sz="1400">
              <a:solidFill>
                <a:srgbClr val="000000"/>
              </a:solidFill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AF990DE-C8A3-7B5F-B848-4E2C39983D24}"/>
              </a:ext>
            </a:extLst>
          </p:cNvPr>
          <p:cNvGraphicFramePr>
            <a:graphicFrameLocks noGrp="1"/>
          </p:cNvGraphicFramePr>
          <p:nvPr/>
        </p:nvGraphicFramePr>
        <p:xfrm>
          <a:off x="502436" y="3147132"/>
          <a:ext cx="11191884" cy="22325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52380">
                  <a:extLst>
                    <a:ext uri="{9D8B030D-6E8A-4147-A177-3AD203B41FA5}">
                      <a16:colId xmlns:a16="http://schemas.microsoft.com/office/drawing/2014/main" val="1196870828"/>
                    </a:ext>
                  </a:extLst>
                </a:gridCol>
                <a:gridCol w="1835139">
                  <a:extLst>
                    <a:ext uri="{9D8B030D-6E8A-4147-A177-3AD203B41FA5}">
                      <a16:colId xmlns:a16="http://schemas.microsoft.com/office/drawing/2014/main" val="2018123942"/>
                    </a:ext>
                  </a:extLst>
                </a:gridCol>
                <a:gridCol w="38034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74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34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32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Belamaf schedule</a:t>
                      </a: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/>
                        <a:t>Number of patients, n (%)</a:t>
                      </a:r>
                      <a:endParaRPr lang="en-US" sz="1000" b="1"/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Time to onset</a:t>
                      </a: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/>
                        <a:t>Median (range), days</a:t>
                      </a: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3/4W </a:t>
                      </a:r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6 (50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76 (42–439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6/8W </a:t>
                      </a:r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6 (50)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246 (106–472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3/4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3 (23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128 (113–409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6/8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6 (50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264 (92–546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endParaRPr lang="en-GB" sz="1000" b="1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1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000" b="1">
                          <a:solidFill>
                            <a:schemeClr val="tx1"/>
                          </a:solidFill>
                          <a:ea typeface="Verdana"/>
                        </a:rPr>
                        <a:t>Time to resolution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b="0">
                        <a:latin typeface="+mn-lt"/>
                      </a:endParaRP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330251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3/4W </a:t>
                      </a:r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163 (36–230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386821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6/8W </a:t>
                      </a:r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135 (29–246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549936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3/4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36 (22–85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7195687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6/8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latin typeface="+mn-lt"/>
                        </a:rPr>
                        <a:t>70 (43–421)</a:t>
                      </a:r>
                      <a:endParaRPr lang="en-GB" sz="1000" dirty="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3210407"/>
                  </a:ext>
                </a:extLst>
              </a:tr>
            </a:tbl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D9F4E73C-B31E-7A6E-113F-52865D64422D}"/>
              </a:ext>
            </a:extLst>
          </p:cNvPr>
          <p:cNvGraphicFramePr>
            <a:graphicFrameLocks/>
          </p:cNvGraphicFramePr>
          <p:nvPr/>
        </p:nvGraphicFramePr>
        <p:xfrm>
          <a:off x="3860755" y="3256378"/>
          <a:ext cx="6764425" cy="2658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9D0A323F-720C-13E4-5F85-04E2BEBAD922}"/>
              </a:ext>
            </a:extLst>
          </p:cNvPr>
          <p:cNvSpPr txBox="1"/>
          <p:nvPr/>
        </p:nvSpPr>
        <p:spPr>
          <a:xfrm>
            <a:off x="497998" y="2767013"/>
            <a:ext cx="11203781" cy="309146"/>
          </a:xfrm>
          <a:prstGeom prst="round2SameRect">
            <a:avLst>
              <a:gd name="adj1" fmla="val 37770"/>
              <a:gd name="adj2" fmla="val 0"/>
            </a:avLst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irst occurrence of decrease in BCVA score from baseline (20/25 or better) to 20/50 or wor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954A9C1-F89E-42EE-F2D8-61F18B80370E}"/>
              </a:ext>
            </a:extLst>
          </p:cNvPr>
          <p:cNvSpPr txBox="1"/>
          <p:nvPr/>
        </p:nvSpPr>
        <p:spPr>
          <a:xfrm>
            <a:off x="6774248" y="5763650"/>
            <a:ext cx="914400" cy="174377"/>
          </a:xfrm>
          <a:prstGeom prst="rect">
            <a:avLst/>
          </a:prstGeom>
          <a:noFill/>
        </p:spPr>
        <p:txBody>
          <a:bodyPr wrap="none" lIns="180000" tIns="180000" rIns="180000" bIns="180000" rtlCol="0" anchor="ctr"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</a:pPr>
            <a:r>
              <a:rPr lang="en-US" sz="1100" b="1"/>
              <a:t>Day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3CC674C-CDC5-7ECC-E27E-35778C63D6A0}"/>
              </a:ext>
            </a:extLst>
          </p:cNvPr>
          <p:cNvGrpSpPr>
            <a:grpSpLocks noChangeAspect="1"/>
          </p:cNvGrpSpPr>
          <p:nvPr/>
        </p:nvGrpSpPr>
        <p:grpSpPr>
          <a:xfrm>
            <a:off x="7993443" y="1452793"/>
            <a:ext cx="3292162" cy="1097280"/>
            <a:chOff x="7086611" y="-1247000"/>
            <a:chExt cx="4508147" cy="150256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FE14E61-295A-0554-2C76-256812675CC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86611" y="-1247000"/>
              <a:ext cx="4508147" cy="1502568"/>
              <a:chOff x="288772" y="1078462"/>
              <a:chExt cx="6763502" cy="2134168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94D77F1-0D15-8236-D54D-6B333CB63FCB}"/>
                  </a:ext>
                </a:extLst>
              </p:cNvPr>
              <p:cNvGrpSpPr/>
              <p:nvPr/>
            </p:nvGrpSpPr>
            <p:grpSpPr>
              <a:xfrm>
                <a:off x="446592" y="1152046"/>
                <a:ext cx="6499547" cy="1966693"/>
                <a:chOff x="821743" y="1740012"/>
                <a:chExt cx="7499132" cy="2536124"/>
              </a:xfrm>
            </p:grpSpPr>
            <p:pic>
              <p:nvPicPr>
                <p:cNvPr id="24" name="Picture 23" descr="The Roles of Different Spatial Frequency Channels in Real-World ...">
                  <a:extLst>
                    <a:ext uri="{FF2B5EF4-FFF2-40B4-BE49-F238E27FC236}">
                      <a16:creationId xmlns:a16="http://schemas.microsoft.com/office/drawing/2014/main" id="{4045E75B-EB80-8D63-AC52-D5B726CD4BF4}"/>
                    </a:ext>
                  </a:extLst>
                </p:cNvPr>
                <p:cNvPicPr preferRelativeResize="0">
                  <a:picLocks noChangeAspect="1" noChangeArrowheads="1"/>
                </p:cNvPicPr>
                <p:nvPr/>
              </p:nvPicPr>
              <p:blipFill rotWithShape="1"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809" t="22787" r="44321" b="60054"/>
                <a:stretch/>
              </p:blipFill>
              <p:spPr bwMode="auto">
                <a:xfrm>
                  <a:off x="4684238" y="1740012"/>
                  <a:ext cx="3636637" cy="253612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6" name="Picture 25" descr="The Roles of Different Spatial Frequency Channels in Real-World ...">
                  <a:extLst>
                    <a:ext uri="{FF2B5EF4-FFF2-40B4-BE49-F238E27FC236}">
                      <a16:creationId xmlns:a16="http://schemas.microsoft.com/office/drawing/2014/main" id="{413980A6-5D57-E8F3-41E6-3214FF079040}"/>
                    </a:ext>
                  </a:extLst>
                </p:cNvPr>
                <p:cNvPicPr preferRelativeResize="0">
                  <a:picLocks noChangeAspect="1" noChangeArrowheads="1"/>
                </p:cNvPicPr>
                <p:nvPr/>
              </p:nvPicPr>
              <p:blipFill rotWithShape="1"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292" t="3014" r="43994" b="79359"/>
                <a:stretch/>
              </p:blipFill>
              <p:spPr bwMode="auto">
                <a:xfrm>
                  <a:off x="821743" y="1740012"/>
                  <a:ext cx="3636642" cy="253612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6FF5913D-80A6-B678-552A-BCAE00BA791F}"/>
                  </a:ext>
                </a:extLst>
              </p:cNvPr>
              <p:cNvSpPr/>
              <p:nvPr/>
            </p:nvSpPr>
            <p:spPr>
              <a:xfrm>
                <a:off x="288772" y="1078462"/>
                <a:ext cx="6763502" cy="2134168"/>
              </a:xfrm>
              <a:prstGeom prst="roundRect">
                <a:avLst>
                  <a:gd name="adj" fmla="val 6482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7F97538-B4C9-F964-9E79-2920E3630A72}"/>
                </a:ext>
              </a:extLst>
            </p:cNvPr>
            <p:cNvGrpSpPr/>
            <p:nvPr/>
          </p:nvGrpSpPr>
          <p:grpSpPr>
            <a:xfrm>
              <a:off x="7245104" y="-1093435"/>
              <a:ext cx="997136" cy="353225"/>
              <a:chOff x="7370938" y="1906030"/>
              <a:chExt cx="997136" cy="353225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A24CCE0F-9B6A-1CBB-400A-AF090E919CC8}"/>
                  </a:ext>
                </a:extLst>
              </p:cNvPr>
              <p:cNvSpPr/>
              <p:nvPr/>
            </p:nvSpPr>
            <p:spPr bwMode="auto">
              <a:xfrm>
                <a:off x="7388501" y="1906030"/>
                <a:ext cx="979573" cy="320172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 algn="l" eaLnBrk="0" fontAlgn="auto" hangingPunct="0"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10000"/>
                  <a:buFont typeface="Arial" panose="020B0604020202020204" pitchFamily="34" charset="0"/>
                  <a:buChar char="•"/>
                </a:pPr>
                <a:endParaRPr lang="en-GB" sz="16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TextBox 22">
                <a:extLst>
                  <a:ext uri="{FF2B5EF4-FFF2-40B4-BE49-F238E27FC236}">
                    <a16:creationId xmlns:a16="http://schemas.microsoft.com/office/drawing/2014/main" id="{C442A755-AE5F-EF9C-1E08-3F6FCB261134}"/>
                  </a:ext>
                </a:extLst>
              </p:cNvPr>
              <p:cNvSpPr txBox="1"/>
              <p:nvPr/>
            </p:nvSpPr>
            <p:spPr>
              <a:xfrm>
                <a:off x="7370938" y="1993772"/>
                <a:ext cx="997136" cy="265483"/>
              </a:xfrm>
              <a:prstGeom prst="rect">
                <a:avLst/>
              </a:prstGeom>
              <a:noFill/>
            </p:spPr>
            <p:txBody>
              <a:bodyPr wrap="square" lIns="0" tIns="0" rIns="0" bIns="9144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F36633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20/20</a:t>
                </a:r>
              </a:p>
            </p:txBody>
          </p:sp>
        </p:grp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8DCACCFB-209F-F156-FFB1-E14503D2FD74}"/>
              </a:ext>
            </a:extLst>
          </p:cNvPr>
          <p:cNvSpPr/>
          <p:nvPr/>
        </p:nvSpPr>
        <p:spPr bwMode="auto">
          <a:xfrm>
            <a:off x="9756362" y="1564937"/>
            <a:ext cx="715352" cy="233812"/>
          </a:xfrm>
          <a:prstGeom prst="round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35" name="TextBox 22">
            <a:extLst>
              <a:ext uri="{FF2B5EF4-FFF2-40B4-BE49-F238E27FC236}">
                <a16:creationId xmlns:a16="http://schemas.microsoft.com/office/drawing/2014/main" id="{95F2E6D1-4AF8-8ABA-A18E-F4F77F46FD7D}"/>
              </a:ext>
            </a:extLst>
          </p:cNvPr>
          <p:cNvSpPr txBox="1"/>
          <p:nvPr/>
        </p:nvSpPr>
        <p:spPr>
          <a:xfrm>
            <a:off x="9754121" y="1629012"/>
            <a:ext cx="728178" cy="193875"/>
          </a:xfrm>
          <a:prstGeom prst="rect">
            <a:avLst/>
          </a:prstGeom>
          <a:noFill/>
        </p:spPr>
        <p:txBody>
          <a:bodyPr wrap="square" lIns="0" tIns="0" rIns="0" bIns="9144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20/50</a:t>
            </a:r>
            <a:r>
              <a:rPr kumimoji="0" lang="en-US" sz="1600" b="1" i="0" u="none" strike="noStrike" kern="1200" cap="none" spc="0" normalizeH="0" baseline="3000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†</a:t>
            </a:r>
          </a:p>
        </p:txBody>
      </p:sp>
      <p:sp>
        <p:nvSpPr>
          <p:cNvPr id="2" name="object 8">
            <a:extLst>
              <a:ext uri="{FF2B5EF4-FFF2-40B4-BE49-F238E27FC236}">
                <a16:creationId xmlns:a16="http://schemas.microsoft.com/office/drawing/2014/main" id="{511E8CAF-E565-43D6-A34B-8ABC7EB70CE3}"/>
              </a:ext>
            </a:extLst>
          </p:cNvPr>
          <p:cNvSpPr txBox="1"/>
          <p:nvPr/>
        </p:nvSpPr>
        <p:spPr>
          <a:xfrm>
            <a:off x="9186587" y="6626337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096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A505D-0BE2-48CF-992B-FEC8E5290337}"/>
              </a:ext>
            </a:extLst>
          </p:cNvPr>
          <p:cNvSpPr txBox="1">
            <a:spLocks/>
          </p:cNvSpPr>
          <p:nvPr/>
        </p:nvSpPr>
        <p:spPr>
          <a:xfrm>
            <a:off x="141779" y="953206"/>
            <a:ext cx="11908442" cy="44252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R-T cell therapies are effective therapies for both early and late RRMM but there are many unsolved question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w “sustainable” are the responses?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 there a plateau in the PFS curve ?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ich targets, which constructs, what dose ?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different CARs similar?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 a second dose effective?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 there cross-resistance / target loss ?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re there options after CAR-T failure? Other immunotherapies ? 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xicity – Logistics - Costs 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endParaRPr lang="en-US" sz="900" dirty="0">
              <a:solidFill>
                <a:schemeClr val="bg2">
                  <a:lumMod val="1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munotherapy approaches with T-cell engagers offer very good results in late RRMM and may go to earlier lines. Side-effects remain a problem. Infections for BCMA-targeted bispecific Abs – gastrointestinal AEs for </a:t>
            </a:r>
            <a:r>
              <a:rPr lang="en-US" alt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lquetamab</a:t>
            </a:r>
            <a:r>
              <a:rPr lang="en-US" alt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? Continuous Use or fixed duration?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alt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lantamab</a:t>
            </a:r>
            <a:r>
              <a:rPr lang="en-US" alt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fodotin</a:t>
            </a:r>
            <a:r>
              <a:rPr lang="en-US" altLang="en-US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combination with either </a:t>
            </a:r>
            <a:r>
              <a:rPr lang="en-US" altLang="en-US" sz="24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d</a:t>
            </a:r>
            <a:r>
              <a:rPr lang="en-US" altLang="en-US" sz="2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or Pd are new standards of care in patients with early RRM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endParaRPr lang="en-US" altLang="en-U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altLang="en-U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altLang="en-US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184DBC8-26C8-4FD6-95F0-0E08B884E2DC}"/>
              </a:ext>
            </a:extLst>
          </p:cNvPr>
          <p:cNvSpPr txBox="1">
            <a:spLocks/>
          </p:cNvSpPr>
          <p:nvPr/>
        </p:nvSpPr>
        <p:spPr>
          <a:xfrm>
            <a:off x="141779" y="218650"/>
            <a:ext cx="8264986" cy="8985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mmary/Conclusions </a:t>
            </a:r>
            <a:endParaRPr lang="el-GR" altLang="en-US" sz="32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30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diagram of a patient's study&#10;&#10;AI-generated content may be incorrect.">
            <a:extLst>
              <a:ext uri="{FF2B5EF4-FFF2-40B4-BE49-F238E27FC236}">
                <a16:creationId xmlns:a16="http://schemas.microsoft.com/office/drawing/2014/main" id="{B47F663B-08D9-2E75-03CA-94B07BE696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5" y="172994"/>
            <a:ext cx="11801110" cy="65120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0381FEF-1BE9-E6EC-689E-40193BB69AD4}"/>
              </a:ext>
            </a:extLst>
          </p:cNvPr>
          <p:cNvSpPr txBox="1"/>
          <p:nvPr/>
        </p:nvSpPr>
        <p:spPr>
          <a:xfrm>
            <a:off x="10791721" y="393831"/>
            <a:ext cx="65314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3012D82-8138-1A0F-FBB6-C29BEF3E2186}"/>
              </a:ext>
            </a:extLst>
          </p:cNvPr>
          <p:cNvSpPr/>
          <p:nvPr/>
        </p:nvSpPr>
        <p:spPr>
          <a:xfrm>
            <a:off x="11677135" y="6277232"/>
            <a:ext cx="395416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457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51EA7-BB25-4C54-35F5-5D996CB83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6288"/>
            <a:ext cx="10882523" cy="942353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nl-NL" sz="32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rMMa-3</a:t>
            </a:r>
            <a:br>
              <a:rPr lang="nl-NL" sz="32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nl-NL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-4 prior LOT; triple-class-exposed 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AF878075-40A5-E3CC-DE66-9AECAD54E7EA}"/>
              </a:ext>
            </a:extLst>
          </p:cNvPr>
          <p:cNvSpPr txBox="1"/>
          <p:nvPr/>
        </p:nvSpPr>
        <p:spPr>
          <a:xfrm>
            <a:off x="489864" y="5654402"/>
            <a:ext cx="112122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ossover: at data cutoff, 56% (74/132) of patients in the SR arm had received ide-cel as subsequent therapy after PD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60DF8F-5539-5850-4297-93F6F76992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57274" y="1810852"/>
            <a:ext cx="5552113" cy="360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FED835D-92AB-C1E3-2404-37BA7B611D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8640" y="1810852"/>
            <a:ext cx="5666087" cy="3600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0DEB922-DDBC-AF0B-CC7F-9122251930A4}"/>
              </a:ext>
            </a:extLst>
          </p:cNvPr>
          <p:cNvSpPr/>
          <p:nvPr/>
        </p:nvSpPr>
        <p:spPr>
          <a:xfrm>
            <a:off x="1819304" y="1642540"/>
            <a:ext cx="3157048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FS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A90BDE-CF99-583F-C518-EA94EAD9F352}"/>
              </a:ext>
            </a:extLst>
          </p:cNvPr>
          <p:cNvSpPr/>
          <p:nvPr/>
        </p:nvSpPr>
        <p:spPr>
          <a:xfrm>
            <a:off x="8229831" y="1643908"/>
            <a:ext cx="2678545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25EE65-DA6B-064E-35D9-03BC6AE412C6}"/>
              </a:ext>
            </a:extLst>
          </p:cNvPr>
          <p:cNvSpPr/>
          <p:nvPr/>
        </p:nvSpPr>
        <p:spPr>
          <a:xfrm>
            <a:off x="3621102" y="1232191"/>
            <a:ext cx="4949797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ter a median follow-up of 30.9 months:</a:t>
            </a:r>
            <a:endParaRPr kumimoji="0" lang="en-GB" sz="1800" b="1" i="0" u="none" strike="noStrike" kern="1200" cap="none" spc="0" normalizeH="0" baseline="3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56DDB8EA-2A86-10D5-8CC2-97F20FEC8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214" y="6465888"/>
            <a:ext cx="11981786" cy="39211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Based on KM approach; †Based on KM approach; ‡Stratified hazard ratio is based on the univariate Cox proportional hazards model. CI is two-sided and calculated by bootstrap metho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374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, confidence interval; KM, Kaplan-Meier; LOT, line(s) of treatment; NR, not reached; OS, overall survival; PD, progressive disease; PFS, progression-free survival; SE, standard error; SR, standard regim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374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374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ilawadhi S, et al. Blood 2024;144:2389–2401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00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14815FB-0D88-1935-79B8-E996D563B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dirty="0"/>
              <a:t>Phase 2 iMMagine-1: Anito-cel - Preliminary efficacy data for an anti-BCMA CAR T-cell therapy in RRMM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8CCC6AA-966C-43FA-4B28-5D562880A255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285832" y="5995831"/>
            <a:ext cx="11827510" cy="81694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B7C78"/>
                </a:solidFill>
                <a:effectLst/>
                <a:uLnTx/>
                <a:uFillTx/>
              </a:rPr>
              <a:t>Anito-cel is an investigational product, currently not approved by any regulatory agency.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-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v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, negative; Anito-cel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anitocabtage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autoleucel</a:t>
            </a:r>
            <a:r>
              <a:rPr lang="en-GB" sz="800" dirty="0"/>
              <a:t>; ASCT, autologous stem cell transplant; CAR T, chimeric antigen receptor T cell; CR, complete response; f/u, follow up; </a:t>
            </a:r>
            <a:r>
              <a:rPr lang="en-GB" sz="800" dirty="0" err="1"/>
              <a:t>mo</a:t>
            </a:r>
            <a:r>
              <a:rPr lang="en-GB" sz="800" dirty="0"/>
              <a:t>, month; </a:t>
            </a:r>
            <a:r>
              <a:rPr lang="en-GB" sz="800" dirty="0" err="1"/>
              <a:t>MRDng</a:t>
            </a:r>
            <a:r>
              <a:rPr lang="en-GB" sz="800" dirty="0"/>
              <a:t>, </a:t>
            </a:r>
            <a:r>
              <a:rPr lang="en-GB" sz="800" dirty="0">
                <a:cs typeface="Segoe UI"/>
              </a:rPr>
              <a:t>minimal residual disease negativity rate; ORR</a:t>
            </a:r>
            <a:r>
              <a:rPr lang="en-GB" sz="800" dirty="0"/>
              <a:t>, overall response rate; OS, overall survival; PFS, progression-free survival; PR, partial response; RRMM, relapse/refractory multiple myeloma; </a:t>
            </a:r>
            <a:r>
              <a:rPr lang="en-GB" sz="800" dirty="0" err="1"/>
              <a:t>sCR</a:t>
            </a:r>
            <a:r>
              <a:rPr lang="en-GB" sz="800" dirty="0"/>
              <a:t>, stringent CR; TEAE, treatment-emergent adverse event; VGPR, very good PR; yr, year. </a:t>
            </a:r>
          </a:p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reeman CL et al. Oral presentation at ASH</a:t>
            </a:r>
            <a:r>
              <a:rPr lang="en-GB" sz="1000" dirty="0"/>
              <a:t> 2024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Abstract 1031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AD217677-3EC1-11A5-4C0D-99C3543789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4602769"/>
              </p:ext>
            </p:extLst>
          </p:nvPr>
        </p:nvGraphicFramePr>
        <p:xfrm>
          <a:off x="237466" y="1432800"/>
          <a:ext cx="4242729" cy="399240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066599">
                  <a:extLst>
                    <a:ext uri="{9D8B030D-6E8A-4147-A177-3AD203B41FA5}">
                      <a16:colId xmlns:a16="http://schemas.microsoft.com/office/drawing/2014/main" val="448902403"/>
                    </a:ext>
                  </a:extLst>
                </a:gridCol>
                <a:gridCol w="1088065">
                  <a:extLst>
                    <a:ext uri="{9D8B030D-6E8A-4147-A177-3AD203B41FA5}">
                      <a16:colId xmlns:a16="http://schemas.microsoft.com/office/drawing/2014/main" val="1052019350"/>
                    </a:ext>
                  </a:extLst>
                </a:gridCol>
                <a:gridCol w="1088065">
                  <a:extLst>
                    <a:ext uri="{9D8B030D-6E8A-4147-A177-3AD203B41FA5}">
                      <a16:colId xmlns:a16="http://schemas.microsoft.com/office/drawing/2014/main" val="3750351103"/>
                    </a:ext>
                  </a:extLst>
                </a:gridCol>
              </a:tblGrid>
              <a:tr h="201054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</a:rPr>
                        <a:t>Patient </a:t>
                      </a:r>
                      <a:br>
                        <a:rPr lang="en-US" sz="1400" dirty="0">
                          <a:solidFill>
                            <a:srgbClr val="FFFFFF"/>
                          </a:solidFill>
                          <a:latin typeface="+mn-lt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</a:rPr>
                        <a:t>characteristics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solidFill>
                            <a:schemeClr val="bg1"/>
                          </a:solidFill>
                          <a:latin typeface="+mn-lt"/>
                        </a:rPr>
                        <a:t>Safety evaluable </a:t>
                      </a:r>
                      <a:br>
                        <a:rPr lang="pt-BR" sz="1400" b="1">
                          <a:solidFill>
                            <a:srgbClr val="FFFFFF"/>
                          </a:solidFill>
                          <a:latin typeface="+mn-lt"/>
                        </a:rPr>
                      </a:br>
                      <a:r>
                        <a:rPr lang="pt-BR" sz="1400" b="1">
                          <a:solidFill>
                            <a:schemeClr val="bg1"/>
                          </a:solidFill>
                          <a:latin typeface="+mn-lt"/>
                        </a:rPr>
                        <a:t>(N=98)</a:t>
                      </a: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Efficacy evaluable</a:t>
                      </a:r>
                    </a:p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(N=86)</a:t>
                      </a: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841004616"/>
                  </a:ext>
                </a:extLst>
              </a:tr>
              <a:tr h="115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sym typeface="OpenSans"/>
                        </a:rPr>
                        <a:t>Median age (yrs)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</a:rPr>
                        <a:t>65</a:t>
                      </a:r>
                      <a:endParaRPr lang="en-US" sz="1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65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715687011"/>
                  </a:ext>
                </a:extLst>
              </a:tr>
              <a:tr h="234033">
                <a:tc grid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Previous lines of therapy 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160957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Lines of prior therapy, median (min-max)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3-8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3-8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335254038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3 prior lines of therapy 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 (46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 (43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008529778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Triple refractory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 (87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 (86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367128258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Penta refractory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 (42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 (43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1258218812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</a:rPr>
                        <a:t>Prior ASCT </a:t>
                      </a:r>
                      <a:endParaRPr lang="en-US" sz="1400" b="0">
                        <a:solidFill>
                          <a:schemeClr val="tx1"/>
                        </a:solidFill>
                        <a:latin typeface="+mn-lt"/>
                        <a:ea typeface="Calibri"/>
                        <a:cs typeface="Calibri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3 (75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4 (74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34599529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</a:rPr>
                        <a:t>Bridging therapy</a:t>
                      </a:r>
                      <a:endParaRPr lang="en-US" sz="1400" b="0">
                        <a:solidFill>
                          <a:schemeClr val="tx1"/>
                        </a:solidFill>
                        <a:latin typeface="+mn-lt"/>
                        <a:ea typeface="Calibri"/>
                        <a:cs typeface="Calibri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5 (66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 (71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115810865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Outpatient administration</a:t>
                      </a:r>
                      <a:endParaRPr lang="en-US" sz="1400" b="0" i="0" baseline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(8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(6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2576271662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</a:rPr>
                        <a:t>Median time since diagnosis (yrs)</a:t>
                      </a:r>
                      <a:endParaRPr lang="en-US" sz="1400" b="0" i="0" baseline="3000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.2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.5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756328766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8E7C3CDB-F557-BAE8-65DA-C9BCE01F4BF2}"/>
              </a:ext>
            </a:extLst>
          </p:cNvPr>
          <p:cNvSpPr txBox="1"/>
          <p:nvPr/>
        </p:nvSpPr>
        <p:spPr>
          <a:xfrm>
            <a:off x="7944464" y="2677513"/>
            <a:ext cx="4101047" cy="1471700"/>
          </a:xfrm>
          <a:prstGeom prst="rect">
            <a:avLst/>
          </a:prstGeom>
          <a:solidFill>
            <a:srgbClr val="FFECCD"/>
          </a:solidFill>
        </p:spPr>
        <p:txBody>
          <a:bodyPr wrap="square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OR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97% an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sC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/C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62% at 9.5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mo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 (median f/u)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MRD –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v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 rate at 10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-5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 or lowe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93.1% (54/58)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PFS rate at 6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93.3%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at 12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78.5%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OS rate at 6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96.5%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at 12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ea typeface="+mn-ea"/>
                <a:cs typeface="+mn-cs"/>
              </a:rPr>
              <a:t>96.5% </a:t>
            </a:r>
          </a:p>
        </p:txBody>
      </p:sp>
      <p:grpSp>
        <p:nvGrpSpPr>
          <p:cNvPr id="7" name="Ομάδα 6">
            <a:extLst>
              <a:ext uri="{FF2B5EF4-FFF2-40B4-BE49-F238E27FC236}">
                <a16:creationId xmlns:a16="http://schemas.microsoft.com/office/drawing/2014/main" id="{500FE61D-291F-7FF8-9DDD-EE2EBC9FB6BB}"/>
              </a:ext>
            </a:extLst>
          </p:cNvPr>
          <p:cNvGrpSpPr/>
          <p:nvPr/>
        </p:nvGrpSpPr>
        <p:grpSpPr>
          <a:xfrm>
            <a:off x="4609899" y="1238594"/>
            <a:ext cx="3101908" cy="4186606"/>
            <a:chOff x="4609899" y="1238594"/>
            <a:chExt cx="2509347" cy="3386340"/>
          </a:xfrm>
        </p:grpSpPr>
        <p:graphicFrame>
          <p:nvGraphicFramePr>
            <p:cNvPr id="17" name="Chart 16">
              <a:extLst>
                <a:ext uri="{FF2B5EF4-FFF2-40B4-BE49-F238E27FC236}">
                  <a16:creationId xmlns:a16="http://schemas.microsoft.com/office/drawing/2014/main" id="{A87315F2-E338-643D-B044-90D019A5322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938322327"/>
                </p:ext>
              </p:extLst>
            </p:nvPr>
          </p:nvGraphicFramePr>
          <p:xfrm>
            <a:off x="4609899" y="1238594"/>
            <a:ext cx="2379643" cy="33863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167A663-EE71-636B-390D-A61FDE71BBAC}"/>
                </a:ext>
              </a:extLst>
            </p:cNvPr>
            <p:cNvSpPr txBox="1"/>
            <p:nvPr/>
          </p:nvSpPr>
          <p:spPr>
            <a:xfrm>
              <a:off x="6470104" y="1766563"/>
              <a:ext cx="649142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BE2BBB"/>
                  </a:solidFill>
                  <a:effectLst/>
                  <a:uLnTx/>
                  <a:uFillTx/>
                  <a:ea typeface="+mn-ea"/>
                  <a:cs typeface="+mn-cs"/>
                </a:rPr>
                <a:t>≥VGP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BE2BBB"/>
                  </a:solidFill>
                  <a:effectLst/>
                  <a:uLnTx/>
                  <a:uFillTx/>
                  <a:ea typeface="+mn-ea"/>
                  <a:cs typeface="+mn-cs"/>
                </a:rPr>
                <a:t>81%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5B599B9A-BBED-F92E-AB51-0D27FFD581F1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04" y="1838816"/>
              <a:ext cx="0" cy="1590184"/>
            </a:xfrm>
            <a:prstGeom prst="line">
              <a:avLst/>
            </a:prstGeom>
            <a:ln w="38100" cap="flat">
              <a:solidFill>
                <a:srgbClr val="BE2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8962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D8FC252-8A4D-147E-8A56-34174AF0F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66DBC69D-2AC0-1E78-D9A6-3AB477015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dirty="0"/>
              <a:t>Phase 2 iMMagine-1: Anito-cel - Preliminary Safety Data in RRMM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3CBB36A-23F5-CF44-6E58-284750F7CE51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730250" y="6441169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reeman CL et al. Oral presentation at ASH</a:t>
            </a:r>
            <a:r>
              <a:rPr lang="en-GB" sz="1000" dirty="0"/>
              <a:t> 2024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Abstract 1031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23" name="Table 4">
            <a:extLst>
              <a:ext uri="{FF2B5EF4-FFF2-40B4-BE49-F238E27FC236}">
                <a16:creationId xmlns:a16="http://schemas.microsoft.com/office/drawing/2014/main" id="{09E5C1E9-52B0-11C7-788A-12BC9CD3DF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5602870"/>
              </p:ext>
            </p:extLst>
          </p:nvPr>
        </p:nvGraphicFramePr>
        <p:xfrm>
          <a:off x="916888" y="1858314"/>
          <a:ext cx="5651060" cy="366552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3786941">
                  <a:extLst>
                    <a:ext uri="{9D8B030D-6E8A-4147-A177-3AD203B41FA5}">
                      <a16:colId xmlns:a16="http://schemas.microsoft.com/office/drawing/2014/main" val="448902403"/>
                    </a:ext>
                  </a:extLst>
                </a:gridCol>
                <a:gridCol w="1864119">
                  <a:extLst>
                    <a:ext uri="{9D8B030D-6E8A-4147-A177-3AD203B41FA5}">
                      <a16:colId xmlns:a16="http://schemas.microsoft.com/office/drawing/2014/main" val="1052019350"/>
                    </a:ext>
                  </a:extLst>
                </a:gridCol>
              </a:tblGrid>
              <a:tr h="201054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bg1"/>
                          </a:solidFill>
                          <a:latin typeface="+mn-lt"/>
                        </a:rPr>
                        <a:t>Event</a:t>
                      </a:r>
                      <a:endParaRPr lang="en-US" sz="1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bg1"/>
                          </a:solidFill>
                          <a:latin typeface="+mn-lt"/>
                        </a:rPr>
                        <a:t>Safety evaluable (N=98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004616"/>
                  </a:ext>
                </a:extLst>
              </a:tr>
              <a:tr h="115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sym typeface="OpenSans"/>
                        </a:rPr>
                        <a:t>CRS, any grade (%)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latin typeface="+mn-lt"/>
                        </a:rPr>
                        <a:t>83</a:t>
                      </a:r>
                      <a:endParaRPr lang="en-US" sz="1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568701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sym typeface="OpenSans"/>
                        </a:rPr>
                        <a:t>Median onset (days)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lang="en-US" sz="1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566347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</a:rPr>
                        <a:t>ICANS, any grade (%)</a:t>
                      </a:r>
                      <a:endParaRPr lang="en-GB" sz="18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207654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Median onset (days)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446620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TEAEs (non-CRS/non-ICANS), Gr 3/4 after cell infusion (%)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599529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9728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8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eutropenia </a:t>
                      </a:r>
                      <a:endParaRPr lang="en-US" sz="1800" b="0" i="0" baseline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328766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nemia</a:t>
                      </a: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478584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Thrombocytopenia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7702407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2E475248-003B-2846-2A30-E00D2596D862}"/>
              </a:ext>
            </a:extLst>
          </p:cNvPr>
          <p:cNvSpPr txBox="1"/>
          <p:nvPr/>
        </p:nvSpPr>
        <p:spPr>
          <a:xfrm>
            <a:off x="6980903" y="2678904"/>
            <a:ext cx="4984955" cy="2202410"/>
          </a:xfrm>
          <a:prstGeom prst="rect">
            <a:avLst/>
          </a:prstGeom>
          <a:solidFill>
            <a:srgbClr val="FFECCD"/>
          </a:solidFill>
        </p:spPr>
        <p:txBody>
          <a:bodyPr wrap="square" lIns="45720" rIns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86% of patients with ≤Gr1 C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91% of patients with no ICA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o delayed or non-ICANS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eurotoxiciti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to da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ost common ≥Gr3 TEAEs: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ytopenia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3 deaths due to TEAEs</a:t>
            </a:r>
          </a:p>
        </p:txBody>
      </p:sp>
    </p:spTree>
    <p:extLst>
      <p:ext uri="{BB962C8B-B14F-4D97-AF65-F5344CB8AC3E}">
        <p14:creationId xmlns:p14="http://schemas.microsoft.com/office/powerpoint/2010/main" val="352729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B7A3FF2-1857-F296-89F4-89A1FC6F9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85669EA-CCF5-9094-3D2D-D2AC512C2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i="0" dirty="0">
                <a:solidFill>
                  <a:srgbClr val="C00000"/>
                </a:solidFill>
                <a:effectLst/>
              </a:rPr>
              <a:t>Phase I Trial of MCARH109, a GPRC5D-Targeted Chimeric Antigen Receptor T-Cell Therapy for RR Multiple Myeloma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DACF98F-E118-D590-0A2C-4A10BD7B603A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730250" y="6441169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Jurgens EM, et al. </a:t>
            </a:r>
            <a:r>
              <a:rPr lang="en-US" sz="1000" b="0" i="0" dirty="0">
                <a:effectLst/>
              </a:rPr>
              <a:t>J Clin Oncol 2025;43:498-504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5" name="Εικόνα 4">
            <a:extLst>
              <a:ext uri="{FF2B5EF4-FFF2-40B4-BE49-F238E27FC236}">
                <a16:creationId xmlns:a16="http://schemas.microsoft.com/office/drawing/2014/main" id="{050CB418-CF74-2BBA-EEBF-05BF9D3EA0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8379" y="1129380"/>
            <a:ext cx="7785365" cy="5626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41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5FA5D24-D0CC-BA72-D702-F8371F65F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2831BC1-6492-B384-97AA-A9ECD3E5C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i="0" dirty="0">
                <a:solidFill>
                  <a:srgbClr val="C00000"/>
                </a:solidFill>
                <a:effectLst/>
              </a:rPr>
              <a:t>Phase I Trial of MCARH109 in RRMM: Efficacy Data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F080F2-90D0-69A8-7739-06E420B33CD5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730250" y="6441169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Jurgens EM, et al. </a:t>
            </a:r>
            <a:r>
              <a:rPr lang="en-US" sz="1000" b="0" i="0">
                <a:effectLst/>
              </a:rPr>
              <a:t>J </a:t>
            </a:r>
            <a:r>
              <a:rPr lang="en-US" sz="1000" b="0" i="0" dirty="0">
                <a:effectLst/>
              </a:rPr>
              <a:t>Clin </a:t>
            </a:r>
            <a:r>
              <a:rPr lang="en-US" sz="1000" b="0" i="0">
                <a:effectLst/>
              </a:rPr>
              <a:t>Oncol 2025;43:498-504</a:t>
            </a:r>
            <a:r>
              <a:rPr lang="en-US" sz="1000" b="0" i="0" dirty="0">
                <a:effectLst/>
              </a:rPr>
              <a:t>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id="{4B215600-8278-0117-BF51-B99948C431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40026"/>
          <a:stretch/>
        </p:blipFill>
        <p:spPr>
          <a:xfrm>
            <a:off x="7032464" y="650950"/>
            <a:ext cx="4854735" cy="5960733"/>
          </a:xfrm>
          <a:prstGeom prst="rect">
            <a:avLst/>
          </a:prstGeom>
        </p:spPr>
      </p:pic>
      <p:graphicFrame>
        <p:nvGraphicFramePr>
          <p:cNvPr id="12" name="Πίνακας 11">
            <a:extLst>
              <a:ext uri="{FF2B5EF4-FFF2-40B4-BE49-F238E27FC236}">
                <a16:creationId xmlns:a16="http://schemas.microsoft.com/office/drawing/2014/main" id="{C4BBE102-6CA0-E12E-016B-7C0966693C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216767"/>
              </p:ext>
            </p:extLst>
          </p:nvPr>
        </p:nvGraphicFramePr>
        <p:xfrm>
          <a:off x="188779" y="650950"/>
          <a:ext cx="6402940" cy="607880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2474035">
                  <a:extLst>
                    <a:ext uri="{9D8B030D-6E8A-4147-A177-3AD203B41FA5}">
                      <a16:colId xmlns:a16="http://schemas.microsoft.com/office/drawing/2014/main" val="1618326444"/>
                    </a:ext>
                  </a:extLst>
                </a:gridCol>
                <a:gridCol w="1406769">
                  <a:extLst>
                    <a:ext uri="{9D8B030D-6E8A-4147-A177-3AD203B41FA5}">
                      <a16:colId xmlns:a16="http://schemas.microsoft.com/office/drawing/2014/main" val="2474962256"/>
                    </a:ext>
                  </a:extLst>
                </a:gridCol>
                <a:gridCol w="1316334">
                  <a:extLst>
                    <a:ext uri="{9D8B030D-6E8A-4147-A177-3AD203B41FA5}">
                      <a16:colId xmlns:a16="http://schemas.microsoft.com/office/drawing/2014/main" val="3854294525"/>
                    </a:ext>
                  </a:extLst>
                </a:gridCol>
                <a:gridCol w="1205802">
                  <a:extLst>
                    <a:ext uri="{9D8B030D-6E8A-4147-A177-3AD203B41FA5}">
                      <a16:colId xmlns:a16="http://schemas.microsoft.com/office/drawing/2014/main" val="211806590"/>
                    </a:ext>
                  </a:extLst>
                </a:gridCol>
              </a:tblGrid>
              <a:tr h="424781"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Characteristic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No Previous BCMA Therapy (n = 7)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</a:rPr>
                        <a:t>Previous BCMA Therapy (n = 10)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Overall (N = 17)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7407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>
                          <a:effectLst/>
                        </a:rPr>
                        <a:t>Age, years Median (range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57.9 (37.6-76.4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63.8 (39.6-73.5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59.6 (37.6-76.4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961968304"/>
                  </a:ext>
                </a:extLst>
              </a:tr>
              <a:tr h="223307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>
                          <a:effectLst/>
                        </a:rPr>
                        <a:t>High-risk cytogenetics, No. (%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52676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5 (71.4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 (8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3 (76.5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688893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2 (28.6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2 (2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4 (23.5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41659"/>
                  </a:ext>
                </a:extLst>
              </a:tr>
              <a:tr h="42478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Extramedullary plasmacytoma, No. (%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997956695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4 (57.1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4 (40.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 (47.1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835834394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3 (42.9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6 (60.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9 (52.9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791409832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Previous lines of therapy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37577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Median (range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5.0 (4.0-8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6.50 (5.00-14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6.00 (4.00-14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175307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Penta-exposed, No. (%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59040915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0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7 (100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2660082041"/>
                  </a:ext>
                </a:extLst>
              </a:tr>
              <a:tr h="223307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Triple-refractory disease, No. (%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4074192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9 (9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6 (94.1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584172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 (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 (1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 (5.9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579960"/>
                  </a:ext>
                </a:extLst>
              </a:tr>
              <a:tr h="265947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effectLst/>
                        </a:rPr>
                        <a:t>Previous bispecific antibody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933015864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 (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2(2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2 (11.8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4064900788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(8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5 (88.2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2601726018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Bridging therapy, No. (%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880280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9 (9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6 (94.1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06081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 (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 (1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 (5.9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22186"/>
                  </a:ext>
                </a:extLst>
              </a:tr>
              <a:tr h="223307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effectLst/>
                        </a:rPr>
                        <a:t>Responsive to bridging therapy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197260954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/7 (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/9 (11.1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/16 (6.3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58403843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/7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/9 (88.9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5/16 (93.7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746366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268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3.xml><?xml version="1.0" encoding="utf-8"?>
<a:theme xmlns:a="http://schemas.openxmlformats.org/drawingml/2006/main" name="4_Office Theme">
  <a:themeElements>
    <a:clrScheme name="I7-53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21418"/>
      </a:accent1>
      <a:accent2>
        <a:srgbClr val="B5E1E1"/>
      </a:accent2>
      <a:accent3>
        <a:srgbClr val="A5A5A5"/>
      </a:accent3>
      <a:accent4>
        <a:srgbClr val="F57B20"/>
      </a:accent4>
      <a:accent5>
        <a:srgbClr val="0070C0"/>
      </a:accent5>
      <a:accent6>
        <a:srgbClr val="7DB7C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2022_CCO_Template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GSK congress deck">
  <a:themeElements>
    <a:clrScheme name="Custom 8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00B8AD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 PowerPoint altcolour deck template V1 03July23" id="{C3735198-22BE-45FC-B4BE-DB509B7CBF8C}" vid="{2723D19E-733B-4938-9E76-E418B32FFC82}"/>
    </a:ext>
  </a:extLst>
</a:theme>
</file>

<file path=ppt/theme/theme7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49FA71CF-25DB-4974-B57C-818C4B940293}"/>
</file>

<file path=customXml/itemProps2.xml><?xml version="1.0" encoding="utf-8"?>
<ds:datastoreItem xmlns:ds="http://schemas.openxmlformats.org/officeDocument/2006/customXml" ds:itemID="{773E6388-72FC-4A50-95F1-CA91674253A4}"/>
</file>

<file path=customXml/itemProps3.xml><?xml version="1.0" encoding="utf-8"?>
<ds:datastoreItem xmlns:ds="http://schemas.openxmlformats.org/officeDocument/2006/customXml" ds:itemID="{F3AC50F9-DF62-4DB0-98C1-C950FAD2A7E0}"/>
</file>

<file path=docProps/app.xml><?xml version="1.0" encoding="utf-8"?>
<Properties xmlns="http://schemas.openxmlformats.org/officeDocument/2006/extended-properties" xmlns:vt="http://schemas.openxmlformats.org/officeDocument/2006/docPropsVTypes">
  <TotalTime>3130</TotalTime>
  <Words>7207</Words>
  <Application>Microsoft Macintosh PowerPoint</Application>
  <PresentationFormat>Widescreen</PresentationFormat>
  <Paragraphs>1565</Paragraphs>
  <Slides>3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60" baseType="lpstr">
      <vt:lpstr>ＭＳ Ｐゴシック</vt:lpstr>
      <vt:lpstr>Aptos</vt:lpstr>
      <vt:lpstr>Aptos Display</vt:lpstr>
      <vt:lpstr>Arial</vt:lpstr>
      <vt:lpstr>Calibri</vt:lpstr>
      <vt:lpstr>Courier New</vt:lpstr>
      <vt:lpstr>DIN</vt:lpstr>
      <vt:lpstr>Franklin Gothic Book</vt:lpstr>
      <vt:lpstr>Jost Light</vt:lpstr>
      <vt:lpstr>Lucida Sans Unicode</vt:lpstr>
      <vt:lpstr>Segoe UI</vt:lpstr>
      <vt:lpstr>Slack-Lato</vt:lpstr>
      <vt:lpstr>Times New Roman</vt:lpstr>
      <vt:lpstr>Trebuchet MS</vt:lpstr>
      <vt:lpstr>Verdana</vt:lpstr>
      <vt:lpstr>Webdings</vt:lpstr>
      <vt:lpstr>Wingdings</vt:lpstr>
      <vt:lpstr>Θέμα του Office</vt:lpstr>
      <vt:lpstr>2_2017_HTAA_Diabetes</vt:lpstr>
      <vt:lpstr>4_Office Theme</vt:lpstr>
      <vt:lpstr>5_2022_CCO_Template</vt:lpstr>
      <vt:lpstr>3_Office Theme</vt:lpstr>
      <vt:lpstr>GSK congress deck</vt:lpstr>
      <vt:lpstr>think-cell Slide</vt:lpstr>
      <vt:lpstr>Chimeric Antigen Receptor (CAR) T-Cell Therapy, Bispecific Antibodies and Antibody-Drug Conjugates (ADCs)</vt:lpstr>
      <vt:lpstr>CARTITUDE-4: Cilta-cel vs SoC in early RRMM - Study Design</vt:lpstr>
      <vt:lpstr>CARTITUDE-4 1-3 prior LOT; lenalidomide-refractory </vt:lpstr>
      <vt:lpstr>PowerPoint Presentation</vt:lpstr>
      <vt:lpstr>KarMMa-3 2-4 prior LOT; triple-class-exposed </vt:lpstr>
      <vt:lpstr>Phase 2 iMMagine-1: Anito-cel - Preliminary efficacy data for an anti-BCMA CAR T-cell therapy in RRMM </vt:lpstr>
      <vt:lpstr>Phase 2 iMMagine-1: Anito-cel - Preliminary Safety Data in RRMM </vt:lpstr>
      <vt:lpstr>Phase I Trial of MCARH109, a GPRC5D-Targeted Chimeric Antigen Receptor T-Cell Therapy for RR Multiple Myeloma</vt:lpstr>
      <vt:lpstr>Phase I Trial of MCARH109 in RRMM: Efficacy Data</vt:lpstr>
      <vt:lpstr>Phase I Trial of MCARH109 in RRMM: Efficacy Data</vt:lpstr>
      <vt:lpstr>Phase I/II MajesTEC-1: Teclistamab in R/R MM</vt:lpstr>
      <vt:lpstr>MajesTEC-1: Updated Efficacy of Teclistamab in R/R MM</vt:lpstr>
      <vt:lpstr>MagnetisMM-3: Elranatamab in TCE RRMM</vt:lpstr>
      <vt:lpstr>MagnetisMM-3: Elranatamab in TCE RRMM</vt:lpstr>
      <vt:lpstr>Phase II MonumenTAL-1: Talquetamab in R/R MM </vt:lpstr>
      <vt:lpstr>MonumenTAL-1: Updated DoR and Survival Outcomes </vt:lpstr>
      <vt:lpstr>Phase Ib/II RedirecTT-1 Study: Teclistamab Plus Talquetamab in R/R Multiple Myeloma</vt:lpstr>
      <vt:lpstr>Phase Ib/II RedirectTT-1 Study: Teclistamab Plus Talquetamab in R/R Multiple Myeloma – DoR and PFS</vt:lpstr>
      <vt:lpstr>Phase Ib/II RedirectTT-1 Study: Teclistamab Plus Talquetamab in R/R Multiple Myeloma – Safety</vt:lpstr>
      <vt:lpstr>LINKER-MM1 Update: Linvoseltamab in RRMM - Study Design</vt:lpstr>
      <vt:lpstr>LINKER-MM1 Update: Baseline Characteristics</vt:lpstr>
      <vt:lpstr>LINKER-MM1 Update: Efficacy</vt:lpstr>
      <vt:lpstr>LINKER-MM1 Update: Safety</vt:lpstr>
      <vt:lpstr>DREAMM-8 Study: BelaPd vs PVd – Study Design</vt:lpstr>
      <vt:lpstr>PowerPoint Presentation</vt:lpstr>
      <vt:lpstr>PowerPoint Presentation</vt:lpstr>
      <vt:lpstr>PowerPoint Presentation</vt:lpstr>
      <vt:lpstr>DREAMM-7: Bela-Vd vs Dara-Vd – Study Design</vt:lpstr>
      <vt:lpstr>DREAMM-7 study – Patients Characteristics</vt:lpstr>
      <vt:lpstr>DREAMM-7 study – PFS</vt:lpstr>
      <vt:lpstr>Updated and Additional Analyses From the Phase 3 DREAMM-7 Trial of BVd vs DVd in RRMM: OS</vt:lpstr>
      <vt:lpstr>DREAMM-9: Study design</vt:lpstr>
      <vt:lpstr>DREAMM-9: Efficacy | ORR</vt:lpstr>
      <vt:lpstr>DREAMM-9: Efficacy | MRD-negativity rate*</vt:lpstr>
      <vt:lpstr>DREAMM-9: Best corrected visual acuit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imeric Antigen Receptor (CAR) T-Cell Therapy, Bispecific Antibodies and Antibody-Drug Conjugates (ADCs)</dc:title>
  <dc:creator>Evangelos Terpos</dc:creator>
  <cp:lastModifiedBy>Silvana Izquierdo</cp:lastModifiedBy>
  <cp:revision>21</cp:revision>
  <dcterms:created xsi:type="dcterms:W3CDTF">2025-04-26T13:12:31Z</dcterms:created>
  <dcterms:modified xsi:type="dcterms:W3CDTF">2025-05-06T15:1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